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Default Extension="gif" ContentType="image/gif"/>
  <Default Extension="vml" ContentType="application/vnd.openxmlformats-officedocument.vmlDrawing"/>
  <Override PartName="/ppt/diagrams/layout1.xml" ContentType="application/vnd.openxmlformats-officedocument.drawingml.diagram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data1.xml" ContentType="application/vnd.openxmlformats-officedocument.drawingml.diagramData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Default Extension="bin" ContentType="application/vnd.openxmlformats-officedocument.oleObject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306" r:id="rId2"/>
    <p:sldId id="307" r:id="rId3"/>
    <p:sldId id="309" r:id="rId4"/>
    <p:sldId id="296" r:id="rId5"/>
    <p:sldId id="298" r:id="rId6"/>
    <p:sldId id="300" r:id="rId7"/>
    <p:sldId id="302" r:id="rId8"/>
    <p:sldId id="310" r:id="rId9"/>
    <p:sldId id="304" r:id="rId10"/>
    <p:sldId id="305" r:id="rId11"/>
    <p:sldId id="308" r:id="rId12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620"/>
    <p:restoredTop sz="94660"/>
  </p:normalViewPr>
  <p:slideViewPr>
    <p:cSldViewPr>
      <p:cViewPr>
        <p:scale>
          <a:sx n="80" d="100"/>
          <a:sy n="80" d="100"/>
        </p:scale>
        <p:origin x="-1086" y="-1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5">
  <dgm:title val=""/>
  <dgm:desc val=""/>
  <dgm:catLst>
    <dgm:cat type="accent3" pri="11500"/>
  </dgm:catLst>
  <dgm:styleLbl name="node0">
    <dgm:fillClrLst meth="cycle">
      <a:schemeClr val="accent3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alpha val="9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>
        <a:alpha val="90000"/>
      </a:schemeClr>
      <a:schemeClr val="accent3">
        <a:alpha val="5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/>
    <dgm:txEffectClrLst/>
  </dgm:styleLbl>
  <dgm:styleLbl name="lnNode1">
    <dgm:fillClrLst>
      <a:schemeClr val="accent3">
        <a:shade val="90000"/>
      </a:schemeClr>
      <a:schemeClr val="accent3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shade val="80000"/>
        <a:alpha val="50000"/>
      </a:schemeClr>
      <a:schemeClr val="accent3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  <a:alpha val="90000"/>
      </a:schemeClr>
      <a:schemeClr val="accent3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alpha val="90000"/>
        <a:tint val="40000"/>
      </a:schemeClr>
      <a:schemeClr val="accent3">
        <a:alpha val="5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910AFE8-F8C6-4CA2-8717-10C0C4F9D54E}" type="doc">
      <dgm:prSet loTypeId="urn:microsoft.com/office/officeart/2005/8/layout/pyramid1" loCatId="pyramid" qsTypeId="urn:microsoft.com/office/officeart/2005/8/quickstyle/simple5" qsCatId="simple" csTypeId="urn:microsoft.com/office/officeart/2005/8/colors/accent3_5" csCatId="accent3" phldr="1"/>
      <dgm:spPr/>
      <dgm:t>
        <a:bodyPr/>
        <a:lstStyle/>
        <a:p>
          <a:endParaRPr lang="ru-RU"/>
        </a:p>
      </dgm:t>
    </dgm:pt>
    <dgm:pt modelId="{BE6152E8-A7B0-429C-AE48-E84F07208D3F}">
      <dgm:prSet phldrT="[Текст]" custT="1"/>
      <dgm:spPr/>
      <dgm:t>
        <a:bodyPr/>
        <a:lstStyle/>
        <a:p>
          <a:r>
            <a:rPr lang="ru-RU" sz="1400" b="1" dirty="0" smtClean="0">
              <a:latin typeface="Arial" pitchFamily="34" charset="0"/>
              <a:cs typeface="Arial" pitchFamily="34" charset="0"/>
            </a:rPr>
            <a:t>Федеральный </a:t>
          </a:r>
        </a:p>
        <a:p>
          <a:r>
            <a:rPr lang="ru-RU" sz="1400" b="1" dirty="0" smtClean="0">
              <a:latin typeface="Arial" pitchFamily="34" charset="0"/>
              <a:cs typeface="Arial" pitchFamily="34" charset="0"/>
            </a:rPr>
            <a:t>уровень</a:t>
          </a:r>
          <a:endParaRPr lang="ru-RU" sz="1400" b="1" dirty="0">
            <a:latin typeface="Arial" pitchFamily="34" charset="0"/>
            <a:cs typeface="Arial" pitchFamily="34" charset="0"/>
          </a:endParaRPr>
        </a:p>
      </dgm:t>
    </dgm:pt>
    <dgm:pt modelId="{E4E3CBA1-1494-454E-AC03-F3B20D0AA316}" type="parTrans" cxnId="{7EF86B42-C5C2-48A5-AD31-955E80C6D686}">
      <dgm:prSet/>
      <dgm:spPr/>
      <dgm:t>
        <a:bodyPr/>
        <a:lstStyle/>
        <a:p>
          <a:endParaRPr lang="ru-RU"/>
        </a:p>
      </dgm:t>
    </dgm:pt>
    <dgm:pt modelId="{60727CA4-0E21-4AD4-B171-539238CAA785}" type="sibTrans" cxnId="{7EF86B42-C5C2-48A5-AD31-955E80C6D686}">
      <dgm:prSet/>
      <dgm:spPr/>
      <dgm:t>
        <a:bodyPr/>
        <a:lstStyle/>
        <a:p>
          <a:endParaRPr lang="ru-RU"/>
        </a:p>
      </dgm:t>
    </dgm:pt>
    <dgm:pt modelId="{2BCEAB64-79E1-4190-90C6-94A8105E1D4B}">
      <dgm:prSet phldrT="[Текст]" custT="1"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1400" b="1" dirty="0" smtClean="0">
              <a:latin typeface="Arial" pitchFamily="34" charset="0"/>
              <a:cs typeface="Arial" pitchFamily="34" charset="0"/>
            </a:rPr>
            <a:t>Региональный уровень</a:t>
          </a:r>
          <a:endParaRPr lang="ru-RU" sz="1400" b="1" dirty="0">
            <a:latin typeface="Arial" pitchFamily="34" charset="0"/>
            <a:cs typeface="Arial" pitchFamily="34" charset="0"/>
          </a:endParaRPr>
        </a:p>
      </dgm:t>
    </dgm:pt>
    <dgm:pt modelId="{4363E265-816B-49DD-95F3-BA03AB168331}" type="parTrans" cxnId="{E4BDC416-25AF-46FD-AC12-78F3B2B85050}">
      <dgm:prSet/>
      <dgm:spPr/>
      <dgm:t>
        <a:bodyPr/>
        <a:lstStyle/>
        <a:p>
          <a:endParaRPr lang="ru-RU"/>
        </a:p>
      </dgm:t>
    </dgm:pt>
    <dgm:pt modelId="{32704981-E668-4A0A-87E7-B3E615A0D446}" type="sibTrans" cxnId="{E4BDC416-25AF-46FD-AC12-78F3B2B85050}">
      <dgm:prSet/>
      <dgm:spPr/>
      <dgm:t>
        <a:bodyPr/>
        <a:lstStyle/>
        <a:p>
          <a:endParaRPr lang="ru-RU"/>
        </a:p>
      </dgm:t>
    </dgm:pt>
    <dgm:pt modelId="{3F883D72-AB51-44A3-BB69-C25E95E42149}">
      <dgm:prSet phldrT="[Текст]" custT="1"/>
      <dgm:spPr/>
      <dgm:t>
        <a:bodyPr/>
        <a:lstStyle/>
        <a:p>
          <a:r>
            <a:rPr lang="ru-RU" sz="1400" b="1" dirty="0" smtClean="0">
              <a:latin typeface="Arial" pitchFamily="34" charset="0"/>
              <a:cs typeface="Arial" pitchFamily="34" charset="0"/>
            </a:rPr>
            <a:t>Уровень образовательной организации</a:t>
          </a:r>
          <a:endParaRPr lang="ru-RU" sz="1400" b="1" dirty="0">
            <a:latin typeface="Arial" pitchFamily="34" charset="0"/>
            <a:cs typeface="Arial" pitchFamily="34" charset="0"/>
          </a:endParaRPr>
        </a:p>
      </dgm:t>
    </dgm:pt>
    <dgm:pt modelId="{428F7FEF-F18C-45C5-A0FD-DCD1786E4B14}" type="parTrans" cxnId="{69E9DBBE-2A88-403E-AF1C-D510FF47D87B}">
      <dgm:prSet/>
      <dgm:spPr/>
      <dgm:t>
        <a:bodyPr/>
        <a:lstStyle/>
        <a:p>
          <a:endParaRPr lang="ru-RU"/>
        </a:p>
      </dgm:t>
    </dgm:pt>
    <dgm:pt modelId="{41BF762B-3A7A-4AA9-AF14-931268079A95}" type="sibTrans" cxnId="{69E9DBBE-2A88-403E-AF1C-D510FF47D87B}">
      <dgm:prSet/>
      <dgm:spPr/>
      <dgm:t>
        <a:bodyPr/>
        <a:lstStyle/>
        <a:p>
          <a:endParaRPr lang="ru-RU"/>
        </a:p>
      </dgm:t>
    </dgm:pt>
    <dgm:pt modelId="{7C3E26E5-8345-4B58-ADD7-8E425EA260AA}" type="pres">
      <dgm:prSet presAssocID="{4910AFE8-F8C6-4CA2-8717-10C0C4F9D54E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4E3F3C2-2FFE-4908-A86D-328E43B3294A}" type="pres">
      <dgm:prSet presAssocID="{BE6152E8-A7B0-429C-AE48-E84F07208D3F}" presName="Name8" presStyleCnt="0"/>
      <dgm:spPr/>
    </dgm:pt>
    <dgm:pt modelId="{41B0729E-585F-4A7E-A894-AA6DFF53CF58}" type="pres">
      <dgm:prSet presAssocID="{BE6152E8-A7B0-429C-AE48-E84F07208D3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E7E8AE7-164D-44BD-BE40-BDE74B4818F7}" type="pres">
      <dgm:prSet presAssocID="{BE6152E8-A7B0-429C-AE48-E84F07208D3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89E913C-2543-4D0F-9CBF-BF9B2CF8E0DA}" type="pres">
      <dgm:prSet presAssocID="{2BCEAB64-79E1-4190-90C6-94A8105E1D4B}" presName="Name8" presStyleCnt="0"/>
      <dgm:spPr/>
    </dgm:pt>
    <dgm:pt modelId="{EBBA0041-A843-441C-87AB-8F637576AE6A}" type="pres">
      <dgm:prSet presAssocID="{2BCEAB64-79E1-4190-90C6-94A8105E1D4B}" presName="level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B7C2DCE-4CF1-4FE5-90E9-E7B7B569F09C}" type="pres">
      <dgm:prSet presAssocID="{2BCEAB64-79E1-4190-90C6-94A8105E1D4B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7701B75-B313-4FD6-9404-F77707EEE284}" type="pres">
      <dgm:prSet presAssocID="{3F883D72-AB51-44A3-BB69-C25E95E42149}" presName="Name8" presStyleCnt="0"/>
      <dgm:spPr/>
    </dgm:pt>
    <dgm:pt modelId="{CC9EFA65-A778-457A-93C6-B9548DB6D4C8}" type="pres">
      <dgm:prSet presAssocID="{3F883D72-AB51-44A3-BB69-C25E95E42149}" presName="level" presStyleLbl="node1" presStyleIdx="2" presStyleCnt="3" custLinFactNeighborX="699" custLinFactNeighborY="701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705155B-A724-47C1-A128-C5DF09EE6B97}" type="pres">
      <dgm:prSet presAssocID="{3F883D72-AB51-44A3-BB69-C25E95E42149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0945AF5-0565-46C4-8D6E-37E3D9FA5363}" type="presOf" srcId="{3F883D72-AB51-44A3-BB69-C25E95E42149}" destId="{CC9EFA65-A778-457A-93C6-B9548DB6D4C8}" srcOrd="0" destOrd="0" presId="urn:microsoft.com/office/officeart/2005/8/layout/pyramid1"/>
    <dgm:cxn modelId="{E4BDC416-25AF-46FD-AC12-78F3B2B85050}" srcId="{4910AFE8-F8C6-4CA2-8717-10C0C4F9D54E}" destId="{2BCEAB64-79E1-4190-90C6-94A8105E1D4B}" srcOrd="1" destOrd="0" parTransId="{4363E265-816B-49DD-95F3-BA03AB168331}" sibTransId="{32704981-E668-4A0A-87E7-B3E615A0D446}"/>
    <dgm:cxn modelId="{69E9DBBE-2A88-403E-AF1C-D510FF47D87B}" srcId="{4910AFE8-F8C6-4CA2-8717-10C0C4F9D54E}" destId="{3F883D72-AB51-44A3-BB69-C25E95E42149}" srcOrd="2" destOrd="0" parTransId="{428F7FEF-F18C-45C5-A0FD-DCD1786E4B14}" sibTransId="{41BF762B-3A7A-4AA9-AF14-931268079A95}"/>
    <dgm:cxn modelId="{1BFE2CAC-0603-4EDD-A93D-9DCD9D81969F}" type="presOf" srcId="{3F883D72-AB51-44A3-BB69-C25E95E42149}" destId="{0705155B-A724-47C1-A128-C5DF09EE6B97}" srcOrd="1" destOrd="0" presId="urn:microsoft.com/office/officeart/2005/8/layout/pyramid1"/>
    <dgm:cxn modelId="{3BED3D1F-0DDE-443D-8827-7C1E3C2997B2}" type="presOf" srcId="{2BCEAB64-79E1-4190-90C6-94A8105E1D4B}" destId="{2B7C2DCE-4CF1-4FE5-90E9-E7B7B569F09C}" srcOrd="1" destOrd="0" presId="urn:microsoft.com/office/officeart/2005/8/layout/pyramid1"/>
    <dgm:cxn modelId="{12EABC1B-5C04-4CCE-9E7E-EE5EB594144B}" type="presOf" srcId="{2BCEAB64-79E1-4190-90C6-94A8105E1D4B}" destId="{EBBA0041-A843-441C-87AB-8F637576AE6A}" srcOrd="0" destOrd="0" presId="urn:microsoft.com/office/officeart/2005/8/layout/pyramid1"/>
    <dgm:cxn modelId="{02053700-E72A-4076-8855-B56BEDF9ED5A}" type="presOf" srcId="{4910AFE8-F8C6-4CA2-8717-10C0C4F9D54E}" destId="{7C3E26E5-8345-4B58-ADD7-8E425EA260AA}" srcOrd="0" destOrd="0" presId="urn:microsoft.com/office/officeart/2005/8/layout/pyramid1"/>
    <dgm:cxn modelId="{05988C9F-6598-467E-AB5A-CA902BC93CBA}" type="presOf" srcId="{BE6152E8-A7B0-429C-AE48-E84F07208D3F}" destId="{AE7E8AE7-164D-44BD-BE40-BDE74B4818F7}" srcOrd="1" destOrd="0" presId="urn:microsoft.com/office/officeart/2005/8/layout/pyramid1"/>
    <dgm:cxn modelId="{7EF86B42-C5C2-48A5-AD31-955E80C6D686}" srcId="{4910AFE8-F8C6-4CA2-8717-10C0C4F9D54E}" destId="{BE6152E8-A7B0-429C-AE48-E84F07208D3F}" srcOrd="0" destOrd="0" parTransId="{E4E3CBA1-1494-454E-AC03-F3B20D0AA316}" sibTransId="{60727CA4-0E21-4AD4-B171-539238CAA785}"/>
    <dgm:cxn modelId="{CA924006-E736-4119-9500-4216B355921E}" type="presOf" srcId="{BE6152E8-A7B0-429C-AE48-E84F07208D3F}" destId="{41B0729E-585F-4A7E-A894-AA6DFF53CF58}" srcOrd="0" destOrd="0" presId="urn:microsoft.com/office/officeart/2005/8/layout/pyramid1"/>
    <dgm:cxn modelId="{53CD7621-52CD-40F4-90DB-6743E06AB5F1}" type="presParOf" srcId="{7C3E26E5-8345-4B58-ADD7-8E425EA260AA}" destId="{04E3F3C2-2FFE-4908-A86D-328E43B3294A}" srcOrd="0" destOrd="0" presId="urn:microsoft.com/office/officeart/2005/8/layout/pyramid1"/>
    <dgm:cxn modelId="{47BE78BC-121C-4341-90BB-7E9B928BAD9E}" type="presParOf" srcId="{04E3F3C2-2FFE-4908-A86D-328E43B3294A}" destId="{41B0729E-585F-4A7E-A894-AA6DFF53CF58}" srcOrd="0" destOrd="0" presId="urn:microsoft.com/office/officeart/2005/8/layout/pyramid1"/>
    <dgm:cxn modelId="{169A1C1A-EB3C-4B15-A8C3-25B497FD6B97}" type="presParOf" srcId="{04E3F3C2-2FFE-4908-A86D-328E43B3294A}" destId="{AE7E8AE7-164D-44BD-BE40-BDE74B4818F7}" srcOrd="1" destOrd="0" presId="urn:microsoft.com/office/officeart/2005/8/layout/pyramid1"/>
    <dgm:cxn modelId="{21FF9A31-3B6D-4417-9ADF-4446A43C7260}" type="presParOf" srcId="{7C3E26E5-8345-4B58-ADD7-8E425EA260AA}" destId="{189E913C-2543-4D0F-9CBF-BF9B2CF8E0DA}" srcOrd="1" destOrd="0" presId="urn:microsoft.com/office/officeart/2005/8/layout/pyramid1"/>
    <dgm:cxn modelId="{F8A2F6EA-96EF-4CA1-85BB-6E5409B7E7C1}" type="presParOf" srcId="{189E913C-2543-4D0F-9CBF-BF9B2CF8E0DA}" destId="{EBBA0041-A843-441C-87AB-8F637576AE6A}" srcOrd="0" destOrd="0" presId="urn:microsoft.com/office/officeart/2005/8/layout/pyramid1"/>
    <dgm:cxn modelId="{4F62DFBE-0E3E-4444-AC43-C218C5634732}" type="presParOf" srcId="{189E913C-2543-4D0F-9CBF-BF9B2CF8E0DA}" destId="{2B7C2DCE-4CF1-4FE5-90E9-E7B7B569F09C}" srcOrd="1" destOrd="0" presId="urn:microsoft.com/office/officeart/2005/8/layout/pyramid1"/>
    <dgm:cxn modelId="{D2FD2BF8-A6F6-4589-93EA-F8EE0DD5BB39}" type="presParOf" srcId="{7C3E26E5-8345-4B58-ADD7-8E425EA260AA}" destId="{C7701B75-B313-4FD6-9404-F77707EEE284}" srcOrd="2" destOrd="0" presId="urn:microsoft.com/office/officeart/2005/8/layout/pyramid1"/>
    <dgm:cxn modelId="{6D0A1C0D-ECE1-4D67-8C26-C06024D73B51}" type="presParOf" srcId="{C7701B75-B313-4FD6-9404-F77707EEE284}" destId="{CC9EFA65-A778-457A-93C6-B9548DB6D4C8}" srcOrd="0" destOrd="0" presId="urn:microsoft.com/office/officeart/2005/8/layout/pyramid1"/>
    <dgm:cxn modelId="{945D4C73-F8EE-407A-AEBA-150D40E53719}" type="presParOf" srcId="{C7701B75-B313-4FD6-9404-F77707EEE284}" destId="{0705155B-A724-47C1-A128-C5DF09EE6B97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1B0729E-585F-4A7E-A894-AA6DFF53CF58}">
      <dsp:nvSpPr>
        <dsp:cNvPr id="0" name=""/>
        <dsp:cNvSpPr/>
      </dsp:nvSpPr>
      <dsp:spPr>
        <a:xfrm>
          <a:off x="1776197" y="0"/>
          <a:ext cx="1776197" cy="1570690"/>
        </a:xfrm>
        <a:prstGeom prst="trapezoid">
          <a:avLst>
            <a:gd name="adj" fmla="val 56542"/>
          </a:avLst>
        </a:prstGeom>
        <a:gradFill rotWithShape="0">
          <a:gsLst>
            <a:gs pos="0">
              <a:schemeClr val="accent3">
                <a:alpha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alpha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alpha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Arial" pitchFamily="34" charset="0"/>
              <a:cs typeface="Arial" pitchFamily="34" charset="0"/>
            </a:rPr>
            <a:t>Федеральный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Arial" pitchFamily="34" charset="0"/>
              <a:cs typeface="Arial" pitchFamily="34" charset="0"/>
            </a:rPr>
            <a:t>уровень</a:t>
          </a:r>
          <a:endParaRPr lang="ru-RU" sz="1400" b="1" kern="1200" dirty="0">
            <a:latin typeface="Arial" pitchFamily="34" charset="0"/>
            <a:cs typeface="Arial" pitchFamily="34" charset="0"/>
          </a:endParaRPr>
        </a:p>
      </dsp:txBody>
      <dsp:txXfrm>
        <a:off x="1776197" y="0"/>
        <a:ext cx="1776197" cy="1570690"/>
      </dsp:txXfrm>
    </dsp:sp>
    <dsp:sp modelId="{EBBA0041-A843-441C-87AB-8F637576AE6A}">
      <dsp:nvSpPr>
        <dsp:cNvPr id="0" name=""/>
        <dsp:cNvSpPr/>
      </dsp:nvSpPr>
      <dsp:spPr>
        <a:xfrm>
          <a:off x="888098" y="1570690"/>
          <a:ext cx="3552394" cy="1570690"/>
        </a:xfrm>
        <a:prstGeom prst="trapezoid">
          <a:avLst>
            <a:gd name="adj" fmla="val 56542"/>
          </a:avLst>
        </a:prstGeom>
        <a:gradFill rotWithShape="1">
          <a:gsLst>
            <a:gs pos="0">
              <a:schemeClr val="accent3">
                <a:tint val="50000"/>
                <a:satMod val="300000"/>
              </a:schemeClr>
            </a:gs>
            <a:gs pos="35000">
              <a:schemeClr val="accent3">
                <a:tint val="37000"/>
                <a:satMod val="300000"/>
              </a:schemeClr>
            </a:gs>
            <a:gs pos="100000">
              <a:schemeClr val="accent3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3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3"/>
        </a:lnRef>
        <a:fillRef idx="2">
          <a:schemeClr val="accent3"/>
        </a:fillRef>
        <a:effectRef idx="1">
          <a:schemeClr val="accent3"/>
        </a:effectRef>
        <a:fontRef idx="minor">
          <a:schemeClr val="dk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Arial" pitchFamily="34" charset="0"/>
              <a:cs typeface="Arial" pitchFamily="34" charset="0"/>
            </a:rPr>
            <a:t>Региональный уровень</a:t>
          </a:r>
          <a:endParaRPr lang="ru-RU" sz="1400" b="1" kern="1200" dirty="0">
            <a:latin typeface="Arial" pitchFamily="34" charset="0"/>
            <a:cs typeface="Arial" pitchFamily="34" charset="0"/>
          </a:endParaRPr>
        </a:p>
      </dsp:txBody>
      <dsp:txXfrm>
        <a:off x="1509767" y="1570690"/>
        <a:ext cx="2309056" cy="1570690"/>
      </dsp:txXfrm>
    </dsp:sp>
    <dsp:sp modelId="{CC9EFA65-A778-457A-93C6-B9548DB6D4C8}">
      <dsp:nvSpPr>
        <dsp:cNvPr id="0" name=""/>
        <dsp:cNvSpPr/>
      </dsp:nvSpPr>
      <dsp:spPr>
        <a:xfrm>
          <a:off x="0" y="3141381"/>
          <a:ext cx="5328591" cy="1570690"/>
        </a:xfrm>
        <a:prstGeom prst="trapezoid">
          <a:avLst>
            <a:gd name="adj" fmla="val 56542"/>
          </a:avLst>
        </a:prstGeom>
        <a:gradFill rotWithShape="0">
          <a:gsLst>
            <a:gs pos="0">
              <a:schemeClr val="accent3">
                <a:alpha val="90000"/>
                <a:hueOff val="0"/>
                <a:satOff val="0"/>
                <a:lumOff val="0"/>
                <a:alphaOff val="-40000"/>
                <a:shade val="51000"/>
                <a:satMod val="130000"/>
              </a:schemeClr>
            </a:gs>
            <a:gs pos="80000">
              <a:schemeClr val="accent3">
                <a:alpha val="90000"/>
                <a:hueOff val="0"/>
                <a:satOff val="0"/>
                <a:lumOff val="0"/>
                <a:alphaOff val="-40000"/>
                <a:shade val="93000"/>
                <a:satMod val="130000"/>
              </a:schemeClr>
            </a:gs>
            <a:gs pos="100000">
              <a:schemeClr val="accent3">
                <a:alpha val="90000"/>
                <a:hueOff val="0"/>
                <a:satOff val="0"/>
                <a:lumOff val="0"/>
                <a:alphaOff val="-4000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Arial" pitchFamily="34" charset="0"/>
              <a:cs typeface="Arial" pitchFamily="34" charset="0"/>
            </a:rPr>
            <a:t>Уровень образовательной организации</a:t>
          </a:r>
          <a:endParaRPr lang="ru-RU" sz="1400" b="1" kern="1200" dirty="0">
            <a:latin typeface="Arial" pitchFamily="34" charset="0"/>
            <a:cs typeface="Arial" pitchFamily="34" charset="0"/>
          </a:endParaRPr>
        </a:p>
      </dsp:txBody>
      <dsp:txXfrm>
        <a:off x="932503" y="3141381"/>
        <a:ext cx="3463584" cy="157069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pPr/>
              <a:t>08.04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pPr/>
              <a:t>08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pPr/>
              <a:t>08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pPr/>
              <a:t>08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0" y="1484784"/>
            <a:ext cx="8328047" cy="5144830"/>
          </a:xfrm>
          <a:prstGeom prst="rect">
            <a:avLst/>
          </a:prstGeom>
        </p:spPr>
      </p:pic>
      <p:pic>
        <p:nvPicPr>
          <p:cNvPr id="11" name="Picture 2" descr="D:\Work\Bachti\!!!ВНУТРЕННИЕ\декабрь\презентация\gerb_obl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619" y="121714"/>
            <a:ext cx="868070" cy="9360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710007" y="1484784"/>
            <a:ext cx="717436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ru-RU" sz="6000" kern="1200" baseline="0" dirty="0">
                <a:solidFill>
                  <a:srgbClr val="3B4555"/>
                </a:solidFill>
                <a:latin typeface="Futura PT Medium" pitchFamily="34" charset="-52"/>
                <a:ea typeface="+mn-ea"/>
                <a:cs typeface="+mn-cs"/>
              </a:defRPr>
            </a:lvl1pPr>
          </a:lstStyle>
          <a:p>
            <a:pPr lvl="0" defTabSz="396000"/>
            <a:r>
              <a:rPr lang="ru-RU" dirty="0" smtClean="0"/>
              <a:t>Название проекта</a:t>
            </a:r>
            <a:endParaRPr lang="ru-RU" dirty="0"/>
          </a:p>
        </p:txBody>
      </p:sp>
      <p:sp>
        <p:nvSpPr>
          <p:cNvPr id="16" name="Текст 2"/>
          <p:cNvSpPr>
            <a:spLocks noGrp="1"/>
          </p:cNvSpPr>
          <p:nvPr>
            <p:ph idx="1" hasCustomPrompt="1"/>
          </p:nvPr>
        </p:nvSpPr>
        <p:spPr>
          <a:xfrm>
            <a:off x="891105" y="3594393"/>
            <a:ext cx="3600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ru-RU" sz="2400" dirty="0" smtClean="0">
                <a:solidFill>
                  <a:srgbClr val="3B4555"/>
                </a:solidFill>
                <a:latin typeface="Futura PT Book" pitchFamily="34" charset="-52"/>
              </a:defRPr>
            </a:lvl1pPr>
            <a:lvl2pPr>
              <a:defRPr lang="ru-RU" dirty="0" smtClean="0">
                <a:latin typeface="Arial" charset="0"/>
              </a:defRPr>
            </a:lvl2pPr>
            <a:lvl3pPr>
              <a:defRPr lang="ru-RU" dirty="0" smtClean="0">
                <a:latin typeface="Arial" charset="0"/>
              </a:defRPr>
            </a:lvl3pPr>
            <a:lvl4pPr>
              <a:defRPr lang="ru-RU" dirty="0" smtClean="0">
                <a:latin typeface="Arial" charset="0"/>
              </a:defRPr>
            </a:lvl4pPr>
            <a:lvl5pPr>
              <a:defRPr lang="ru-RU" dirty="0">
                <a:latin typeface="Arial" charset="0"/>
              </a:defRPr>
            </a:lvl5pPr>
          </a:lstStyle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dirty="0" smtClean="0"/>
              <a:t>Автор</a:t>
            </a:r>
          </a:p>
        </p:txBody>
      </p:sp>
      <p:sp>
        <p:nvSpPr>
          <p:cNvPr id="17" name="Объект 3"/>
          <p:cNvSpPr>
            <a:spLocks noGrp="1"/>
          </p:cNvSpPr>
          <p:nvPr>
            <p:ph sz="half" idx="2" hasCustomPrompt="1"/>
          </p:nvPr>
        </p:nvSpPr>
        <p:spPr>
          <a:xfrm>
            <a:off x="2051720" y="121714"/>
            <a:ext cx="1008112" cy="104187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Логотип ведомств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7377888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0" y="1484784"/>
            <a:ext cx="8328047" cy="5144830"/>
          </a:xfrm>
          <a:prstGeom prst="rect">
            <a:avLst/>
          </a:prstGeom>
        </p:spPr>
      </p:pic>
      <p:pic>
        <p:nvPicPr>
          <p:cNvPr id="11" name="Picture 2" descr="D:\Work\Bachti\!!!ВНУТРЕННИЕ\декабрь\презентация\gerb_obl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619" y="121714"/>
            <a:ext cx="868070" cy="9360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710007" y="1484784"/>
            <a:ext cx="717436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ru-RU" sz="6000" kern="1200" baseline="0" dirty="0">
                <a:solidFill>
                  <a:srgbClr val="3B4555"/>
                </a:solidFill>
                <a:latin typeface="Futura PT Medium" pitchFamily="34" charset="-52"/>
                <a:ea typeface="+mn-ea"/>
                <a:cs typeface="+mn-cs"/>
              </a:defRPr>
            </a:lvl1pPr>
          </a:lstStyle>
          <a:p>
            <a:pPr lvl="0" defTabSz="396000"/>
            <a:r>
              <a:rPr lang="ru-RU" dirty="0" smtClean="0"/>
              <a:t>Название проекта</a:t>
            </a:r>
            <a:endParaRPr lang="ru-RU" dirty="0"/>
          </a:p>
        </p:txBody>
      </p:sp>
      <p:sp>
        <p:nvSpPr>
          <p:cNvPr id="16" name="Текст 2"/>
          <p:cNvSpPr>
            <a:spLocks noGrp="1"/>
          </p:cNvSpPr>
          <p:nvPr>
            <p:ph idx="1" hasCustomPrompt="1"/>
          </p:nvPr>
        </p:nvSpPr>
        <p:spPr>
          <a:xfrm>
            <a:off x="891105" y="3594393"/>
            <a:ext cx="3600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ru-RU" sz="2400" dirty="0" smtClean="0">
                <a:solidFill>
                  <a:srgbClr val="3B4555"/>
                </a:solidFill>
                <a:latin typeface="Futura PT Book" pitchFamily="34" charset="-52"/>
              </a:defRPr>
            </a:lvl1pPr>
            <a:lvl2pPr>
              <a:defRPr lang="ru-RU" dirty="0" smtClean="0">
                <a:latin typeface="Arial" charset="0"/>
              </a:defRPr>
            </a:lvl2pPr>
            <a:lvl3pPr>
              <a:defRPr lang="ru-RU" dirty="0" smtClean="0">
                <a:latin typeface="Arial" charset="0"/>
              </a:defRPr>
            </a:lvl3pPr>
            <a:lvl4pPr>
              <a:defRPr lang="ru-RU" dirty="0" smtClean="0">
                <a:latin typeface="Arial" charset="0"/>
              </a:defRPr>
            </a:lvl4pPr>
            <a:lvl5pPr>
              <a:defRPr lang="ru-RU" dirty="0">
                <a:latin typeface="Arial" charset="0"/>
              </a:defRPr>
            </a:lvl5pPr>
          </a:lstStyle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dirty="0" smtClean="0"/>
              <a:t>Автор</a:t>
            </a:r>
          </a:p>
        </p:txBody>
      </p:sp>
      <p:sp>
        <p:nvSpPr>
          <p:cNvPr id="17" name="Объект 3"/>
          <p:cNvSpPr>
            <a:spLocks noGrp="1"/>
          </p:cNvSpPr>
          <p:nvPr>
            <p:ph sz="half" idx="2" hasCustomPrompt="1"/>
          </p:nvPr>
        </p:nvSpPr>
        <p:spPr>
          <a:xfrm>
            <a:off x="2051720" y="121714"/>
            <a:ext cx="1008112" cy="104187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Логотип ведомств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7377888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pPr/>
              <a:t>08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pPr/>
              <a:t>08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pPr/>
              <a:t>08.04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pPr/>
              <a:t>08.04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pPr/>
              <a:t>08.04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pPr/>
              <a:t>08.04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pPr/>
              <a:t>08.04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pPr/>
              <a:t>08.04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pPr/>
              <a:t>08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://school-sad33.ucoz.ru/index/sport_bez_granic/0-154" TargetMode="External"/><Relationship Id="rId2" Type="http://schemas.openxmlformats.org/officeDocument/2006/relationships/hyperlink" Target="mailto:school-sad33@mail.ru" TargetMode="Externa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.gif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8.png"/><Relationship Id="rId4" Type="http://schemas.openxmlformats.org/officeDocument/2006/relationships/oleObject" Target="../embeddings/oleObject1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2844" y="1785926"/>
            <a:ext cx="8286807" cy="1077218"/>
          </a:xfrm>
        </p:spPr>
        <p:txBody>
          <a:bodyPr/>
          <a:lstStyle/>
          <a:p>
            <a:r>
              <a:rPr sz="3200" b="1" smtClean="0">
                <a:latin typeface="Times New Roman" pitchFamily="18" charset="0"/>
                <a:cs typeface="Times New Roman" pitchFamily="18" charset="0"/>
              </a:rPr>
              <a:t>"</a:t>
            </a:r>
            <a:r>
              <a:rPr sz="3200" smtClean="0"/>
              <a:t>Введение </a:t>
            </a:r>
            <a:r>
              <a:rPr sz="3200" smtClean="0"/>
              <a:t>системы 5Св </a:t>
            </a:r>
            <a:r>
              <a:rPr sz="3200" smtClean="0"/>
              <a:t/>
            </a:r>
            <a:br>
              <a:rPr sz="3200" smtClean="0"/>
            </a:br>
            <a:r>
              <a:rPr sz="3200" smtClean="0"/>
              <a:t>методический кабинет</a:t>
            </a:r>
            <a:r>
              <a:rPr sz="3200" b="1" smtClean="0">
                <a:latin typeface="Times New Roman" pitchFamily="18" charset="0"/>
                <a:cs typeface="Times New Roman" pitchFamily="18" charset="0"/>
              </a:rPr>
              <a:t>"</a:t>
            </a:r>
            <a:endParaRPr sz="360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0" y="5000636"/>
            <a:ext cx="5072098" cy="830997"/>
          </a:xfrm>
        </p:spPr>
        <p:txBody>
          <a:bodyPr/>
          <a:lstStyle/>
          <a:p>
            <a:r>
              <a:rPr b="1" smtClean="0">
                <a:latin typeface="Times New Roman" pitchFamily="18" charset="0"/>
                <a:cs typeface="Times New Roman" pitchFamily="18" charset="0"/>
              </a:rPr>
              <a:t>МКОУ "Начальная школа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–</a:t>
            </a:r>
            <a:r>
              <a:rPr b="1" smtClean="0">
                <a:latin typeface="Times New Roman" pitchFamily="18" charset="0"/>
                <a:cs typeface="Times New Roman" pitchFamily="18" charset="0"/>
              </a:rPr>
              <a:t> детский сад №33 г. Юрги"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026" name="Picture 2" descr="D:\Сайт\Эмблема\33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6376" y="116632"/>
            <a:ext cx="958702" cy="95870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D:\Сайт\Эмблема\2072452_gerb-urga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713" y="72008"/>
            <a:ext cx="632569" cy="98072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4214328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0963" name="think-cell Slide" r:id="rId4" imgW="360" imgH="360" progId="">
              <p:embed/>
            </p:oleObj>
          </a:graphicData>
        </a:graphic>
      </p:graphicFrame>
      <p:sp>
        <p:nvSpPr>
          <p:cNvPr id="71705" name="Заголовок 1"/>
          <p:cNvSpPr>
            <a:spLocks noGrp="1"/>
          </p:cNvSpPr>
          <p:nvPr>
            <p:ph type="title"/>
          </p:nvPr>
        </p:nvSpPr>
        <p:spPr>
          <a:xfrm>
            <a:off x="247650" y="116632"/>
            <a:ext cx="8648700" cy="439738"/>
          </a:xfrm>
        </p:spPr>
        <p:txBody>
          <a:bodyPr>
            <a:noAutofit/>
          </a:bodyPr>
          <a:lstStyle/>
          <a:p>
            <a:r>
              <a:rPr lang="ru-RU" sz="36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Достигнутые результаты (было и стало) 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0</a:t>
            </a:fld>
            <a:endParaRPr lang="ru-RU" sz="140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017345943"/>
              </p:ext>
            </p:extLst>
          </p:nvPr>
        </p:nvGraphicFramePr>
        <p:xfrm>
          <a:off x="179512" y="1142982"/>
          <a:ext cx="8568952" cy="3860445"/>
        </p:xfrm>
        <a:graphic>
          <a:graphicData uri="http://schemas.openxmlformats.org/drawingml/2006/table">
            <a:tbl>
              <a:tblPr firstRow="1" firstCol="1" bandRow="1">
                <a:tableStyleId>{B301B821-A1FF-4177-AEE7-76D212191A09}</a:tableStyleId>
              </a:tblPr>
              <a:tblGrid>
                <a:gridCol w="3714118"/>
                <a:gridCol w="4854834"/>
              </a:tblGrid>
              <a:tr h="47137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effectLst/>
                        </a:rPr>
                        <a:t>БЫЛО</a:t>
                      </a:r>
                      <a:endParaRPr lang="ru-RU" sz="1600" b="1" u="none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effectLst/>
                        </a:rPr>
                        <a:t>СТАЛО</a:t>
                      </a: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</a:tr>
              <a:tr h="1238576"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400" b="1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тсутствие на рабочем месте,  занятость руководителя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400" b="1" dirty="0" smtClean="0">
                          <a:solidFill>
                            <a:srgbClr val="00B05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Согласованность</a:t>
                      </a:r>
                      <a:endParaRPr lang="ru-RU" sz="1400" b="1" dirty="0">
                        <a:solidFill>
                          <a:srgbClr val="00B050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6012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Длительность процесса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(160 – 285</a:t>
                      </a:r>
                      <a:r>
                        <a:rPr lang="ru-RU" sz="1600" b="1" baseline="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минут)</a:t>
                      </a:r>
                      <a:endParaRPr lang="ru-RU" sz="1600" b="1" dirty="0" smtClean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600" b="1" dirty="0" smtClean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endParaRPr lang="ru-RU" sz="1400" b="1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/>
                          <a:cs typeface="Times New Roman"/>
                        </a:rPr>
                        <a:t>                                       </a:t>
                      </a:r>
                      <a:r>
                        <a:rPr lang="ru-RU" sz="1600" b="1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Длительность процесса</a:t>
                      </a:r>
                    </a:p>
                    <a:p>
                      <a:pPr algn="ctr">
                        <a:defRPr/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100 – 185 минут)</a:t>
                      </a:r>
                      <a:endParaRPr lang="ru-RU" sz="1400" b="1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>
                        <a:defRPr/>
                      </a:pPr>
                      <a:endParaRPr lang="ru-RU" sz="1400" b="1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>
                        <a:defRPr/>
                      </a:pPr>
                      <a:endParaRPr lang="ru-RU" sz="1400" b="1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60120"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 «</a:t>
                      </a:r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Введение системы 5Св </a:t>
                      </a:r>
                      <a:b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</a:br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методический кабинет»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«</a:t>
                      </a:r>
                      <a:r>
                        <a:rPr lang="ru-RU" sz="1200" b="1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КОУ</a:t>
                      </a:r>
                      <a:r>
                        <a:rPr lang="ru-RU" sz="1200" b="1" baseline="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200" b="1" baseline="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«Начальная </a:t>
                      </a:r>
                      <a:r>
                        <a:rPr lang="ru-RU" sz="1200" b="1" baseline="0" dirty="0" err="1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школа-детский</a:t>
                      </a:r>
                      <a:r>
                        <a:rPr lang="ru-RU" sz="1200" b="1" baseline="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сад №33 г.Юрги»</a:t>
                      </a:r>
                      <a:endParaRPr lang="ru-RU" sz="1200" dirty="0" smtClean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20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 </a:t>
                      </a:r>
                      <a:r>
                        <a:rPr lang="ru-RU" sz="1200" baseline="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285 </a:t>
                      </a:r>
                      <a:r>
                        <a:rPr lang="ru-RU" sz="120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мин. до 185</a:t>
                      </a:r>
                      <a:r>
                        <a:rPr lang="ru-RU" sz="1200" baseline="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20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мин.</a:t>
                      </a:r>
                      <a:endParaRPr lang="ru-RU" sz="1200" dirty="0" smtClean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/>
                        <a:cs typeface="Times New Roman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>
                        <a:defRPr/>
                      </a:pPr>
                      <a:endParaRPr lang="ru-RU" sz="1400" b="1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4108593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4348" y="1714488"/>
            <a:ext cx="7670086" cy="1200329"/>
          </a:xfrm>
        </p:spPr>
        <p:txBody>
          <a:bodyPr/>
          <a:lstStyle/>
          <a:p>
            <a:r>
              <a:rPr lang="ru-RU" sz="3600" b="1" dirty="0" smtClean="0">
                <a:latin typeface="Times New Roman" pitchFamily="18" charset="0"/>
                <a:cs typeface="Times New Roman" pitchFamily="18" charset="0"/>
              </a:rPr>
              <a:t>П</a:t>
            </a:r>
            <a:r>
              <a:rPr sz="3600" b="1" smtClean="0">
                <a:latin typeface="Times New Roman" pitchFamily="18" charset="0"/>
                <a:cs typeface="Times New Roman" pitchFamily="18" charset="0"/>
              </a:rPr>
              <a:t>риглашаем </a:t>
            </a:r>
            <a:br>
              <a:rPr sz="3600" b="1" smtClean="0">
                <a:latin typeface="Times New Roman" pitchFamily="18" charset="0"/>
                <a:cs typeface="Times New Roman" pitchFamily="18" charset="0"/>
              </a:rPr>
            </a:br>
            <a:r>
              <a:rPr sz="3600" b="1" smtClean="0">
                <a:latin typeface="Times New Roman" pitchFamily="18" charset="0"/>
                <a:cs typeface="Times New Roman" pitchFamily="18" charset="0"/>
              </a:rPr>
              <a:t>к сотрудничеству</a:t>
            </a:r>
            <a:endParaRPr lang="ru-RU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-32876" y="5301208"/>
            <a:ext cx="3308732" cy="1077218"/>
          </a:xfrm>
        </p:spPr>
        <p:txBody>
          <a:bodyPr/>
          <a:lstStyle/>
          <a:p>
            <a:r>
              <a:rPr sz="2000" dirty="0" smtClean="0">
                <a:latin typeface="Times New Roman" pitchFamily="18" charset="0"/>
                <a:cs typeface="Times New Roman" pitchFamily="18" charset="0"/>
                <a:hlinkClick r:id="rId2"/>
              </a:rPr>
              <a:t>school-sad33@mail.ru</a:t>
            </a:r>
            <a:endParaRPr sz="20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en-US" sz="2000" dirty="0">
                <a:latin typeface="Times New Roman" pitchFamily="18" charset="0"/>
                <a:cs typeface="Times New Roman" pitchFamily="18" charset="0"/>
                <a:hlinkClick r:id="rId3"/>
              </a:rPr>
              <a:t>http://</a:t>
            </a:r>
            <a:r>
              <a:rPr lang="en-US" sz="2000" dirty="0" smtClean="0">
                <a:latin typeface="Times New Roman" pitchFamily="18" charset="0"/>
                <a:cs typeface="Times New Roman" pitchFamily="18" charset="0"/>
                <a:hlinkClick r:id="rId3"/>
              </a:rPr>
              <a:t>school-sad33.ucoz.ru/index/sport_bez_granic/0-154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sz="2000" dirty="0" smtClean="0">
                <a:latin typeface="Times New Roman" pitchFamily="18" charset="0"/>
                <a:cs typeface="Times New Roman" pitchFamily="18" charset="0"/>
              </a:rPr>
              <a:t> </a:t>
            </a:r>
            <a:endParaRPr sz="20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5" name="Picture 2" descr="D:\Сайт\Эмблема\33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6376" y="116632"/>
            <a:ext cx="958702" cy="95870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3" descr="D:\Сайт\Эмблема\2072452_gerb-urga.gif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713" y="72008"/>
            <a:ext cx="632569" cy="98072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4214328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86492" y="188640"/>
            <a:ext cx="3396635" cy="584775"/>
          </a:xfrm>
        </p:spPr>
        <p:txBody>
          <a:bodyPr>
            <a:normAutofit fontScale="90000"/>
          </a:bodyPr>
          <a:lstStyle/>
          <a:p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b="1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Команда </a:t>
            </a:r>
            <a:r>
              <a:rPr lang="ru-RU" b="1" dirty="0">
                <a:latin typeface="Times New Roman" pitchFamily="18" charset="0"/>
                <a:cs typeface="Times New Roman" pitchFamily="18" charset="0"/>
              </a:rPr>
              <a:t>проекта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1000100" y="1500174"/>
            <a:ext cx="3600400" cy="10833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15000"/>
              </a:lnSpc>
            </a:pPr>
            <a:r>
              <a:rPr lang="ru-RU" sz="1400" b="1" dirty="0" smtClean="0">
                <a:solidFill>
                  <a:srgbClr val="002060"/>
                </a:solidFill>
              </a:rPr>
              <a:t>Булатова Ксения Константиновна- заместитель директора по ВМР МКОУ «Начальная школа – детский сад №33 г. Юрги»</a:t>
            </a:r>
            <a:endParaRPr lang="ru-RU" sz="1400" b="1" dirty="0">
              <a:solidFill>
                <a:srgbClr val="002060"/>
              </a:solidFill>
              <a:ea typeface="Calibri"/>
              <a:cs typeface="Times New Roman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3000364" y="2786058"/>
            <a:ext cx="3600400" cy="8356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15000"/>
              </a:lnSpc>
            </a:pPr>
            <a:r>
              <a:rPr lang="ru-RU" sz="1400" b="1" dirty="0" err="1" smtClean="0">
                <a:solidFill>
                  <a:srgbClr val="002060"/>
                </a:solidFill>
              </a:rPr>
              <a:t>Светашова</a:t>
            </a:r>
            <a:r>
              <a:rPr lang="ru-RU" sz="1400" b="1" dirty="0" smtClean="0">
                <a:solidFill>
                  <a:srgbClr val="002060"/>
                </a:solidFill>
              </a:rPr>
              <a:t> </a:t>
            </a:r>
            <a:r>
              <a:rPr lang="ru-RU" sz="1400" b="1" dirty="0" smtClean="0">
                <a:solidFill>
                  <a:srgbClr val="002060"/>
                </a:solidFill>
              </a:rPr>
              <a:t>Полина Сергеевна</a:t>
            </a:r>
            <a:r>
              <a:rPr lang="ru-RU" sz="1400" b="1" dirty="0" smtClean="0">
                <a:solidFill>
                  <a:srgbClr val="002060"/>
                </a:solidFill>
              </a:rPr>
              <a:t>-педагог - психолог </a:t>
            </a:r>
            <a:r>
              <a:rPr lang="ru-RU" sz="1400" b="1" dirty="0" smtClean="0">
                <a:solidFill>
                  <a:srgbClr val="002060"/>
                </a:solidFill>
              </a:rPr>
              <a:t>МКОУ «Начальная школа – детский сад №33 г. Юрги»</a:t>
            </a:r>
            <a:endParaRPr lang="ru-RU" sz="1400" b="1" dirty="0">
              <a:solidFill>
                <a:srgbClr val="002060"/>
              </a:solidFill>
              <a:ea typeface="Calibri"/>
              <a:cs typeface="Times New Roman"/>
            </a:endParaRPr>
          </a:p>
        </p:txBody>
      </p:sp>
      <p:pic>
        <p:nvPicPr>
          <p:cNvPr id="15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7422" y="2714620"/>
            <a:ext cx="552706" cy="552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596" y="1643050"/>
            <a:ext cx="552706" cy="552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8860" y="4071942"/>
            <a:ext cx="552706" cy="552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3000364" y="4000504"/>
            <a:ext cx="3600400" cy="8356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15000"/>
              </a:lnSpc>
            </a:pPr>
            <a:r>
              <a:rPr lang="ru-RU" sz="1400" b="1" dirty="0" err="1" smtClean="0">
                <a:solidFill>
                  <a:srgbClr val="002060"/>
                </a:solidFill>
              </a:rPr>
              <a:t>Суходуб</a:t>
            </a:r>
            <a:r>
              <a:rPr lang="ru-RU" sz="1400" b="1" dirty="0" smtClean="0">
                <a:solidFill>
                  <a:srgbClr val="002060"/>
                </a:solidFill>
              </a:rPr>
              <a:t> Олеся Александровна–воспитатель МКОУ </a:t>
            </a:r>
            <a:r>
              <a:rPr lang="ru-RU" sz="1400" b="1" dirty="0" smtClean="0">
                <a:solidFill>
                  <a:srgbClr val="002060"/>
                </a:solidFill>
              </a:rPr>
              <a:t>«Начальная школа – детский сад №33 г. Юрги»</a:t>
            </a:r>
            <a:endParaRPr lang="ru-RU" sz="1400" b="1" dirty="0">
              <a:solidFill>
                <a:srgbClr val="002060"/>
              </a:solidFill>
              <a:ea typeface="Calibri"/>
              <a:cs typeface="Times New Roman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5357818" y="1500174"/>
            <a:ext cx="3600400" cy="8356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15000"/>
              </a:lnSpc>
            </a:pPr>
            <a:r>
              <a:rPr lang="ru-RU" sz="1400" b="1" dirty="0" smtClean="0">
                <a:solidFill>
                  <a:srgbClr val="002060"/>
                </a:solidFill>
              </a:rPr>
              <a:t>Гончарова Алена Геннадьевна–заместитель директора по УВР </a:t>
            </a:r>
            <a:r>
              <a:rPr lang="ru-RU" sz="1400" b="1" dirty="0" smtClean="0">
                <a:solidFill>
                  <a:srgbClr val="002060"/>
                </a:solidFill>
              </a:rPr>
              <a:t>МКОУ «Начальная школа – детский сад №33 г. Юрги»</a:t>
            </a:r>
            <a:endParaRPr lang="ru-RU" sz="1400" b="1" dirty="0">
              <a:solidFill>
                <a:srgbClr val="002060"/>
              </a:solidFill>
              <a:ea typeface="Calibri"/>
              <a:cs typeface="Times New Roman"/>
            </a:endParaRPr>
          </a:p>
        </p:txBody>
      </p:sp>
      <p:pic>
        <p:nvPicPr>
          <p:cNvPr id="14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6314" y="1500174"/>
            <a:ext cx="552706" cy="552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Прямоугольник 20"/>
          <p:cNvSpPr/>
          <p:nvPr/>
        </p:nvSpPr>
        <p:spPr>
          <a:xfrm>
            <a:off x="3071802" y="5214950"/>
            <a:ext cx="3600400" cy="8356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15000"/>
              </a:lnSpc>
            </a:pPr>
            <a:r>
              <a:rPr lang="ru-RU" sz="1400" b="1" dirty="0" smtClean="0">
                <a:solidFill>
                  <a:srgbClr val="002060"/>
                </a:solidFill>
              </a:rPr>
              <a:t>Аникина Лидия Витальевна-учитель начальных классов МКОУ «Начальная школа – детский сад №33 г. Юрги»</a:t>
            </a:r>
            <a:endParaRPr lang="ru-RU" sz="1400" b="1" dirty="0">
              <a:solidFill>
                <a:srgbClr val="002060"/>
              </a:solidFill>
              <a:ea typeface="Calibri"/>
              <a:cs typeface="Times New Roman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556260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Заголовок 1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45057" name="Picture 1" descr="C:\Users\User\Pictures\2021-04-08 5с\5с 001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 rot="5400000">
            <a:off x="1519704" y="-854176"/>
            <a:ext cx="6176030" cy="850112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556260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/>
          <p:nvPr/>
        </p:nvSpPr>
        <p:spPr>
          <a:xfrm>
            <a:off x="3428992" y="1782753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3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5148263" y="1782753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4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71406" y="3500438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6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3143240" y="3500438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7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1692275" y="1782754"/>
            <a:ext cx="503238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2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34925" y="1785926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1</a:t>
            </a:r>
          </a:p>
        </p:txBody>
      </p:sp>
      <p:sp>
        <p:nvSpPr>
          <p:cNvPr id="14344" name="Заголовок 1"/>
          <p:cNvSpPr>
            <a:spLocks noGrp="1"/>
          </p:cNvSpPr>
          <p:nvPr>
            <p:ph type="title"/>
          </p:nvPr>
        </p:nvSpPr>
        <p:spPr>
          <a:xfrm>
            <a:off x="0" y="836613"/>
            <a:ext cx="9144000" cy="838200"/>
          </a:xfrm>
        </p:spPr>
        <p:txBody>
          <a:bodyPr/>
          <a:lstStyle/>
          <a:p>
            <a:pPr>
              <a:tabLst>
                <a:tab pos="630238" algn="l"/>
              </a:tabLst>
            </a:pPr>
            <a:r>
              <a:rPr lang="ru-RU" sz="1600" dirty="0" smtClean="0">
                <a:solidFill>
                  <a:schemeClr val="accent1">
                    <a:lumMod val="75000"/>
                  </a:schemeClr>
                </a:solidFill>
                <a:latin typeface="Franklin Gothic Medium" pitchFamily="34" charset="0"/>
              </a:rPr>
              <a:t>Карта текущего состояния процесса</a:t>
            </a:r>
            <a:r>
              <a:rPr lang="ru-RU" sz="1600" dirty="0" smtClean="0">
                <a:solidFill>
                  <a:schemeClr val="accent1"/>
                </a:solidFill>
                <a:latin typeface="Franklin Gothic Medium" pitchFamily="34" charset="0"/>
              </a:rPr>
              <a:t/>
            </a:r>
            <a:br>
              <a:rPr lang="ru-RU" sz="1600" dirty="0" smtClean="0">
                <a:solidFill>
                  <a:schemeClr val="accent1"/>
                </a:solidFill>
                <a:latin typeface="Franklin Gothic Medium" pitchFamily="34" charset="0"/>
              </a:rPr>
            </a:br>
            <a:r>
              <a:rPr lang="ru-RU" sz="1600" dirty="0" smtClean="0">
                <a:solidFill>
                  <a:schemeClr val="accent1">
                    <a:lumMod val="75000"/>
                  </a:schemeClr>
                </a:solidFill>
                <a:latin typeface="Franklin Gothic Medium" pitchFamily="34" charset="0"/>
              </a:rPr>
              <a:t>организации </a:t>
            </a:r>
            <a:r>
              <a:rPr lang="ru-RU" sz="1600" dirty="0" smtClean="0">
                <a:solidFill>
                  <a:schemeClr val="accent1">
                    <a:lumMod val="75000"/>
                  </a:schemeClr>
                </a:solidFill>
                <a:latin typeface="Franklin Gothic Medium" pitchFamily="34" charset="0"/>
              </a:rPr>
              <a:t>рабочего пространства в методическом кабинете</a:t>
            </a:r>
            <a:endParaRPr lang="ru-RU" sz="1600" dirty="0" smtClean="0">
              <a:solidFill>
                <a:schemeClr val="accent1">
                  <a:lumMod val="75000"/>
                </a:schemeClr>
              </a:solidFill>
              <a:latin typeface="Franklin Gothic Medium" pitchFamily="34" charset="0"/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133350" y="333375"/>
            <a:ext cx="8686800" cy="8382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  <a:t>Введение в предметную область</a:t>
            </a:r>
            <a:b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</a:br>
            <a: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  <a:t>(описание ситуации «как есть»)</a:t>
            </a:r>
            <a:b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</a:br>
            <a:endParaRPr lang="ru-RU" sz="3000" b="1" dirty="0">
              <a:solidFill>
                <a:schemeClr val="tx1"/>
              </a:solidFill>
              <a:latin typeface="Franklin Gothic Medium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14282" y="2071678"/>
            <a:ext cx="1500198" cy="135732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/>
              <a:t>Руководитель </a:t>
            </a:r>
            <a:endParaRPr lang="ru-RU" sz="1100" strike="sngStrike" dirty="0" smtClean="0"/>
          </a:p>
          <a:p>
            <a:pPr algn="ctr">
              <a:defRPr/>
            </a:pPr>
            <a:endParaRPr lang="ru-RU" sz="5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050" dirty="0" smtClean="0"/>
              <a:t>Поручение </a:t>
            </a:r>
            <a:br>
              <a:rPr lang="ru-RU" sz="1050" dirty="0" smtClean="0"/>
            </a:br>
            <a:r>
              <a:rPr lang="ru-RU" sz="1050" dirty="0" smtClean="0"/>
              <a:t>о </a:t>
            </a:r>
            <a:r>
              <a:rPr lang="ru-RU" sz="1050" dirty="0" smtClean="0"/>
              <a:t>сдаче отчета</a:t>
            </a:r>
            <a:endParaRPr lang="ru-RU" sz="1050" dirty="0" smtClean="0"/>
          </a:p>
          <a:p>
            <a:pPr algn="ctr">
              <a:defRPr/>
            </a:pPr>
            <a:endParaRPr lang="ru-RU" sz="9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(</a:t>
            </a:r>
            <a:r>
              <a:rPr lang="ru-RU" sz="900" dirty="0" smtClean="0">
                <a:solidFill>
                  <a:schemeClr val="tx1"/>
                </a:solidFill>
              </a:rPr>
              <a:t>10 -20 мин.) </a:t>
            </a:r>
            <a:endParaRPr lang="ru-RU" sz="900" dirty="0">
              <a:solidFill>
                <a:schemeClr val="tx1"/>
              </a:solidFill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285720" y="3143248"/>
            <a:ext cx="1428760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Прямоугольник 21"/>
          <p:cNvSpPr/>
          <p:nvPr/>
        </p:nvSpPr>
        <p:spPr>
          <a:xfrm>
            <a:off x="1928794" y="2071678"/>
            <a:ext cx="1439863" cy="121444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Заместитель директора</a:t>
            </a:r>
            <a:endParaRPr lang="ru-RU" sz="11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1100" dirty="0" smtClean="0">
              <a:solidFill>
                <a:schemeClr val="tx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5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бор и подготовка информации </a:t>
            </a:r>
          </a:p>
          <a:p>
            <a:pPr algn="ctr">
              <a:defRPr/>
            </a:pPr>
            <a:endParaRPr lang="ru-RU" sz="6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 (30-40 мин.) 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3" name="Стрелка вправо 22"/>
          <p:cNvSpPr/>
          <p:nvPr/>
        </p:nvSpPr>
        <p:spPr>
          <a:xfrm>
            <a:off x="3355969" y="2643182"/>
            <a:ext cx="287337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>
            <a:off x="1928794" y="3071810"/>
            <a:ext cx="1439863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Прямоугольник 24"/>
          <p:cNvSpPr/>
          <p:nvPr/>
        </p:nvSpPr>
        <p:spPr>
          <a:xfrm>
            <a:off x="3635375" y="2071678"/>
            <a:ext cx="1441450" cy="121444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Сотрудники МКОУ</a:t>
            </a:r>
          </a:p>
          <a:p>
            <a:pPr algn="ctr">
              <a:defRPr/>
            </a:pPr>
            <a:endParaRPr lang="ru-RU" sz="800" dirty="0" smtClean="0"/>
          </a:p>
          <a:p>
            <a:pPr algn="ctr">
              <a:defRPr/>
            </a:pPr>
            <a:endParaRPr lang="ru-RU" sz="800" dirty="0" smtClean="0"/>
          </a:p>
          <a:p>
            <a:pPr algn="ctr">
              <a:defRPr/>
            </a:pPr>
            <a:r>
              <a:rPr lang="ru-RU" sz="1000" dirty="0" smtClean="0"/>
              <a:t>Передача  информации для выборки материалов</a:t>
            </a:r>
          </a:p>
          <a:p>
            <a:pPr algn="ctr">
              <a:defRPr/>
            </a:pPr>
            <a:endParaRPr lang="ru-RU" sz="8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(20-30 мин.) 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6" name="Стрелка вправо 25"/>
          <p:cNvSpPr/>
          <p:nvPr/>
        </p:nvSpPr>
        <p:spPr>
          <a:xfrm>
            <a:off x="5076824" y="2643182"/>
            <a:ext cx="352431" cy="21431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>
            <a:off x="3635896" y="3068960"/>
            <a:ext cx="144145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Прямоугольник 27"/>
          <p:cNvSpPr/>
          <p:nvPr/>
        </p:nvSpPr>
        <p:spPr>
          <a:xfrm>
            <a:off x="5429256" y="2000240"/>
            <a:ext cx="1928826" cy="128588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/>
              <a:t>Руководитель </a:t>
            </a:r>
            <a:endParaRPr lang="ru-RU" sz="700" b="1" dirty="0" smtClean="0"/>
          </a:p>
          <a:p>
            <a:pPr algn="ctr">
              <a:defRPr/>
            </a:pPr>
            <a:endParaRPr lang="ru-RU" sz="500" b="1" dirty="0" smtClean="0"/>
          </a:p>
          <a:p>
            <a:pPr algn="ctr">
              <a:defRPr/>
            </a:pPr>
            <a:r>
              <a:rPr lang="ru-RU" sz="1100" dirty="0" smtClean="0"/>
              <a:t>Получение </a:t>
            </a:r>
            <a:r>
              <a:rPr lang="ru-RU" sz="1100" dirty="0"/>
              <a:t>текстовой информации для выборки </a:t>
            </a:r>
            <a:r>
              <a:rPr lang="ru-RU" sz="1100" dirty="0" smtClean="0"/>
              <a:t>материалов</a:t>
            </a:r>
          </a:p>
          <a:p>
            <a:pPr algn="ctr">
              <a:defRPr/>
            </a:pPr>
            <a:endParaRPr lang="ru-RU" sz="5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5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(10-20 мин.) 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9" name="Стрелка вправо 28"/>
          <p:cNvSpPr/>
          <p:nvPr/>
        </p:nvSpPr>
        <p:spPr>
          <a:xfrm>
            <a:off x="7358082" y="2643182"/>
            <a:ext cx="357190" cy="21431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5429256" y="2998784"/>
            <a:ext cx="1928826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/>
          <p:cNvSpPr/>
          <p:nvPr/>
        </p:nvSpPr>
        <p:spPr>
          <a:xfrm>
            <a:off x="417493" y="3786190"/>
            <a:ext cx="2654309" cy="107157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Руководитель</a:t>
            </a:r>
            <a:endParaRPr lang="ru-RU" sz="1100" dirty="0" smtClean="0">
              <a:solidFill>
                <a:schemeClr val="tx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500" dirty="0">
              <a:solidFill>
                <a:schemeClr val="tx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 smtClean="0"/>
              <a:t>Передача </a:t>
            </a:r>
            <a:r>
              <a:rPr lang="ru-RU" sz="1100" dirty="0"/>
              <a:t>полной информации </a:t>
            </a:r>
            <a:r>
              <a:rPr lang="ru-RU" sz="1100" dirty="0" smtClean="0"/>
              <a:t>по отчету</a:t>
            </a:r>
            <a:endParaRPr lang="ru-RU" sz="1100" dirty="0" smtClean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500" dirty="0" smtClean="0">
              <a:solidFill>
                <a:schemeClr val="tx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(30-60 мин.) 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32" name="Стрелка вправо 31"/>
          <p:cNvSpPr/>
          <p:nvPr/>
        </p:nvSpPr>
        <p:spPr>
          <a:xfrm>
            <a:off x="3071803" y="4286256"/>
            <a:ext cx="357189" cy="21431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428596" y="4643446"/>
            <a:ext cx="2643206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Прямоугольник 37"/>
          <p:cNvSpPr/>
          <p:nvPr/>
        </p:nvSpPr>
        <p:spPr>
          <a:xfrm>
            <a:off x="3428992" y="3786190"/>
            <a:ext cx="2155830" cy="107157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/>
              <a:t>Руководитель</a:t>
            </a:r>
            <a:endParaRPr lang="ru-RU" sz="1100" dirty="0" smtClean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8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100" dirty="0" smtClean="0"/>
              <a:t>Отправка отчета</a:t>
            </a:r>
            <a:endParaRPr lang="ru-RU" sz="1100" dirty="0"/>
          </a:p>
          <a:p>
            <a:pPr algn="ctr">
              <a:defRPr/>
            </a:pPr>
            <a:endParaRPr lang="ru-RU" sz="5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 </a:t>
            </a:r>
            <a:r>
              <a:rPr lang="ru-RU" sz="900" dirty="0" smtClean="0">
                <a:solidFill>
                  <a:schemeClr val="tx1"/>
                </a:solidFill>
              </a:rPr>
              <a:t>(15-20 мин</a:t>
            </a:r>
            <a:r>
              <a:rPr lang="ru-RU" sz="900" dirty="0" smtClean="0">
                <a:solidFill>
                  <a:schemeClr val="tx1"/>
                </a:solidFill>
              </a:rPr>
              <a:t>.) 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40" name="Стрелка вправо 39"/>
          <p:cNvSpPr/>
          <p:nvPr/>
        </p:nvSpPr>
        <p:spPr>
          <a:xfrm>
            <a:off x="142844" y="4284670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43" name="Прямая соединительная линия 42"/>
          <p:cNvCxnSpPr/>
          <p:nvPr/>
        </p:nvCxnSpPr>
        <p:spPr>
          <a:xfrm>
            <a:off x="3428992" y="4643446"/>
            <a:ext cx="2143140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5857885" y="4357694"/>
            <a:ext cx="328611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C00000"/>
                </a:solidFill>
                <a:latin typeface="+mn-lt"/>
                <a:cs typeface="Arial" charset="0"/>
              </a:rPr>
              <a:t>ВПП (время протекания процесса) </a:t>
            </a:r>
            <a:r>
              <a:rPr lang="ru-RU" sz="1200" b="1" dirty="0" smtClean="0">
                <a:solidFill>
                  <a:srgbClr val="C00000"/>
                </a:solidFill>
                <a:latin typeface="+mn-lt"/>
                <a:cs typeface="Arial" charset="0"/>
              </a:rPr>
              <a:t>160 – 285 мин.</a:t>
            </a:r>
            <a:endParaRPr lang="ru-RU" sz="1200" b="1" dirty="0">
              <a:solidFill>
                <a:srgbClr val="C00000"/>
              </a:solidFill>
              <a:latin typeface="+mn-lt"/>
              <a:cs typeface="Arial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7358082" y="1714488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5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7715272" y="2000240"/>
            <a:ext cx="1285884" cy="128588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/>
              <a:t>Руководитель </a:t>
            </a:r>
            <a:endParaRPr lang="ru-RU" sz="700" b="1" dirty="0" smtClean="0"/>
          </a:p>
          <a:p>
            <a:pPr algn="ctr">
              <a:defRPr/>
            </a:pPr>
            <a:endParaRPr lang="ru-RU" sz="800" b="1" dirty="0" smtClean="0"/>
          </a:p>
          <a:p>
            <a:pPr algn="ctr">
              <a:defRPr/>
            </a:pPr>
            <a:r>
              <a:rPr lang="ru-RU" sz="1100" dirty="0" smtClean="0"/>
              <a:t>Отбор </a:t>
            </a:r>
          </a:p>
          <a:p>
            <a:pPr algn="ctr">
              <a:defRPr/>
            </a:pPr>
            <a:r>
              <a:rPr lang="ru-RU" sz="1100" dirty="0" smtClean="0"/>
              <a:t>материалов   </a:t>
            </a:r>
            <a:endParaRPr lang="ru-RU" sz="1100" dirty="0"/>
          </a:p>
          <a:p>
            <a:pPr algn="ctr">
              <a:defRPr/>
            </a:pPr>
            <a:endParaRPr lang="ru-RU" sz="9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 (30-45 мин.)</a:t>
            </a:r>
            <a:endParaRPr lang="ru-RU" sz="900" dirty="0">
              <a:solidFill>
                <a:schemeClr val="tx1"/>
              </a:solidFill>
            </a:endParaRPr>
          </a:p>
        </p:txBody>
      </p:sp>
      <p:cxnSp>
        <p:nvCxnSpPr>
          <p:cNvPr id="45" name="Прямая соединительная линия 44"/>
          <p:cNvCxnSpPr/>
          <p:nvPr/>
        </p:nvCxnSpPr>
        <p:spPr>
          <a:xfrm>
            <a:off x="7715272" y="2285992"/>
            <a:ext cx="1285884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715150"/>
            <a:ext cx="347662" cy="285750"/>
          </a:xfrm>
        </p:spPr>
        <p:txBody>
          <a:bodyPr/>
          <a:lstStyle/>
          <a:p>
            <a:pPr algn="ctr">
              <a:defRPr/>
            </a:pPr>
            <a:fld id="{F4FBE110-AE23-447E-BC5E-ACA3261C4DB1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4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04" name="Пятно 1 103"/>
          <p:cNvSpPr/>
          <p:nvPr/>
        </p:nvSpPr>
        <p:spPr>
          <a:xfrm>
            <a:off x="4211960" y="1628800"/>
            <a:ext cx="439764" cy="500066"/>
          </a:xfrm>
          <a:prstGeom prst="irregularSeal1">
            <a:avLst/>
          </a:prstGeom>
          <a:solidFill>
            <a:srgbClr val="00B0F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4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109" name="Пятно 1 108"/>
          <p:cNvSpPr/>
          <p:nvPr/>
        </p:nvSpPr>
        <p:spPr>
          <a:xfrm>
            <a:off x="4286248" y="3357562"/>
            <a:ext cx="654046" cy="500066"/>
          </a:xfrm>
          <a:prstGeom prst="irregularSeal1">
            <a:avLst/>
          </a:prstGeom>
          <a:solidFill>
            <a:srgbClr val="00B0F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5</a:t>
            </a:r>
            <a:endParaRPr lang="ru-RU" sz="1100" b="1" dirty="0">
              <a:solidFill>
                <a:schemeClr val="bg1"/>
              </a:solidFill>
            </a:endParaRPr>
          </a:p>
        </p:txBody>
      </p:sp>
      <p:cxnSp>
        <p:nvCxnSpPr>
          <p:cNvPr id="110" name="Прямая соединительная линия 109"/>
          <p:cNvCxnSpPr/>
          <p:nvPr/>
        </p:nvCxnSpPr>
        <p:spPr>
          <a:xfrm>
            <a:off x="214282" y="2357430"/>
            <a:ext cx="1428760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Прямая соединительная линия 114"/>
          <p:cNvCxnSpPr/>
          <p:nvPr/>
        </p:nvCxnSpPr>
        <p:spPr>
          <a:xfrm>
            <a:off x="428596" y="4071942"/>
            <a:ext cx="2643206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Прямая соединительная линия 115"/>
          <p:cNvCxnSpPr/>
          <p:nvPr/>
        </p:nvCxnSpPr>
        <p:spPr>
          <a:xfrm>
            <a:off x="1979712" y="2492896"/>
            <a:ext cx="1367855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Прямая соединительная линия 116"/>
          <p:cNvCxnSpPr/>
          <p:nvPr/>
        </p:nvCxnSpPr>
        <p:spPr>
          <a:xfrm>
            <a:off x="3635896" y="2492896"/>
            <a:ext cx="144145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Прямая соединительная линия 117"/>
          <p:cNvCxnSpPr/>
          <p:nvPr/>
        </p:nvCxnSpPr>
        <p:spPr>
          <a:xfrm>
            <a:off x="5418154" y="2284404"/>
            <a:ext cx="1868490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Прямая соединительная линия 121"/>
          <p:cNvCxnSpPr/>
          <p:nvPr/>
        </p:nvCxnSpPr>
        <p:spPr>
          <a:xfrm>
            <a:off x="7715272" y="2998784"/>
            <a:ext cx="1285884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Прямая соединительная линия 127"/>
          <p:cNvCxnSpPr/>
          <p:nvPr/>
        </p:nvCxnSpPr>
        <p:spPr>
          <a:xfrm>
            <a:off x="3428992" y="4071942"/>
            <a:ext cx="2143140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Пятно 1 13"/>
          <p:cNvSpPr/>
          <p:nvPr/>
        </p:nvSpPr>
        <p:spPr>
          <a:xfrm>
            <a:off x="2214546" y="1571612"/>
            <a:ext cx="500066" cy="506411"/>
          </a:xfrm>
          <a:prstGeom prst="irregularSeal1">
            <a:avLst/>
          </a:prstGeom>
          <a:solidFill>
            <a:srgbClr val="00B0F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1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50" name="Пятно 1 49"/>
          <p:cNvSpPr/>
          <p:nvPr/>
        </p:nvSpPr>
        <p:spPr>
          <a:xfrm>
            <a:off x="8215338" y="1643050"/>
            <a:ext cx="642942" cy="500066"/>
          </a:xfrm>
          <a:prstGeom prst="irregularSeal1">
            <a:avLst/>
          </a:prstGeom>
          <a:solidFill>
            <a:srgbClr val="00B0F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2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17" name="Стрелка вправо 16"/>
          <p:cNvSpPr/>
          <p:nvPr/>
        </p:nvSpPr>
        <p:spPr>
          <a:xfrm>
            <a:off x="1643042" y="2643182"/>
            <a:ext cx="238106" cy="21431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2" name="Прямоугольник 51"/>
          <p:cNvSpPr/>
          <p:nvPr/>
        </p:nvSpPr>
        <p:spPr>
          <a:xfrm>
            <a:off x="142844" y="2071678"/>
            <a:ext cx="214282" cy="122413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ВХОД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5572132" y="3571876"/>
            <a:ext cx="288032" cy="1512168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ВЫХОД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54" name="Пятно 1 53"/>
          <p:cNvSpPr/>
          <p:nvPr/>
        </p:nvSpPr>
        <p:spPr>
          <a:xfrm>
            <a:off x="7786710" y="1571612"/>
            <a:ext cx="500066" cy="506411"/>
          </a:xfrm>
          <a:prstGeom prst="irregularSeal1">
            <a:avLst/>
          </a:prstGeom>
          <a:solidFill>
            <a:srgbClr val="00B0F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1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55" name="Пятно 1 54"/>
          <p:cNvSpPr/>
          <p:nvPr/>
        </p:nvSpPr>
        <p:spPr>
          <a:xfrm>
            <a:off x="2857488" y="1571612"/>
            <a:ext cx="642942" cy="500066"/>
          </a:xfrm>
          <a:prstGeom prst="irregularSeal1">
            <a:avLst/>
          </a:prstGeom>
          <a:solidFill>
            <a:srgbClr val="00B0F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2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56" name="Пятно 1 55"/>
          <p:cNvSpPr/>
          <p:nvPr/>
        </p:nvSpPr>
        <p:spPr>
          <a:xfrm>
            <a:off x="8820472" y="1916832"/>
            <a:ext cx="439764" cy="500066"/>
          </a:xfrm>
          <a:prstGeom prst="irregularSeal1">
            <a:avLst/>
          </a:prstGeom>
          <a:solidFill>
            <a:srgbClr val="00B0F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3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58" name="Пятно 1 57"/>
          <p:cNvSpPr/>
          <p:nvPr/>
        </p:nvSpPr>
        <p:spPr>
          <a:xfrm>
            <a:off x="2071670" y="3357562"/>
            <a:ext cx="654046" cy="500066"/>
          </a:xfrm>
          <a:prstGeom prst="irregularSeal1">
            <a:avLst/>
          </a:prstGeom>
          <a:solidFill>
            <a:srgbClr val="00B0F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5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51" name="Скругленная прямоугольная выноска 50"/>
          <p:cNvSpPr/>
          <p:nvPr/>
        </p:nvSpPr>
        <p:spPr>
          <a:xfrm>
            <a:off x="251520" y="5013176"/>
            <a:ext cx="2915022" cy="1487658"/>
          </a:xfrm>
          <a:prstGeom prst="wedgeRoundRectCallou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28600" lvl="0" indent="-228600">
              <a:buFont typeface="+mj-lt"/>
              <a:buAutoNum type="arabicPeriod"/>
            </a:pPr>
            <a:r>
              <a:rPr lang="ru-RU" sz="900" dirty="0" smtClean="0"/>
              <a:t>Сокращение времени выполнения поручений и заданий; 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900" dirty="0" smtClean="0"/>
              <a:t>Снижение количества ошибок работников при подготовке отчетов;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900" dirty="0" smtClean="0"/>
              <a:t>Повышение производительности; 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900" dirty="0" smtClean="0"/>
              <a:t> Управляемость и прозрачность рабочего процесса; 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900" dirty="0" smtClean="0"/>
              <a:t>Поддержание постоянного порядка на рабочем </a:t>
            </a:r>
            <a:r>
              <a:rPr lang="ru-RU" sz="900" dirty="0" smtClean="0"/>
              <a:t>месте</a:t>
            </a:r>
            <a:endParaRPr lang="ru-RU" sz="9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Заголовок 1"/>
          <p:cNvSpPr>
            <a:spLocks noGrp="1"/>
          </p:cNvSpPr>
          <p:nvPr>
            <p:ph type="title"/>
          </p:nvPr>
        </p:nvSpPr>
        <p:spPr>
          <a:xfrm>
            <a:off x="285720" y="1142984"/>
            <a:ext cx="8686800" cy="550863"/>
          </a:xfrm>
        </p:spPr>
        <p:txBody>
          <a:bodyPr/>
          <a:lstStyle/>
          <a:p>
            <a:pPr eaLnBrk="1" hangingPunct="1"/>
            <a:r>
              <a:rPr lang="ru-RU" sz="2400" dirty="0" smtClean="0"/>
              <a:t>Пирамида проблем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0B9B24B0-89E8-4502-86ED-BC2F7D391267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5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107950" y="404813"/>
            <a:ext cx="8686800" cy="8382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  <a:t>Введение в предметную область</a:t>
            </a:r>
            <a:b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</a:br>
            <a: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  <a:t>(описание ситуации «как есть»)</a:t>
            </a:r>
            <a:b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</a:br>
            <a:endParaRPr lang="ru-RU" sz="3000" b="1" dirty="0" smtClean="0">
              <a:solidFill>
                <a:schemeClr val="tx1"/>
              </a:solidFill>
              <a:latin typeface="Franklin Gothic Medium" pitchFamily="34" charset="0"/>
            </a:endParaRPr>
          </a:p>
        </p:txBody>
      </p:sp>
      <p:graphicFrame>
        <p:nvGraphicFramePr>
          <p:cNvPr id="14" name="Схема 13"/>
          <p:cNvGraphicFramePr/>
          <p:nvPr/>
        </p:nvGraphicFramePr>
        <p:xfrm>
          <a:off x="214282" y="1428736"/>
          <a:ext cx="5328592" cy="47120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Пятно 1 9"/>
          <p:cNvSpPr/>
          <p:nvPr/>
        </p:nvSpPr>
        <p:spPr>
          <a:xfrm>
            <a:off x="539552" y="5445224"/>
            <a:ext cx="642942" cy="642943"/>
          </a:xfrm>
          <a:prstGeom prst="irregularSeal1">
            <a:avLst/>
          </a:prstGeom>
          <a:solidFill>
            <a:srgbClr val="0070C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1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11" name="Пятно 1 10"/>
          <p:cNvSpPr/>
          <p:nvPr/>
        </p:nvSpPr>
        <p:spPr>
          <a:xfrm>
            <a:off x="1259632" y="5445224"/>
            <a:ext cx="642942" cy="714380"/>
          </a:xfrm>
          <a:prstGeom prst="irregularSeal1">
            <a:avLst/>
          </a:prstGeom>
          <a:solidFill>
            <a:srgbClr val="0070C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2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12" name="Пятно 1 11"/>
          <p:cNvSpPr/>
          <p:nvPr/>
        </p:nvSpPr>
        <p:spPr>
          <a:xfrm>
            <a:off x="1979712" y="5445224"/>
            <a:ext cx="642942" cy="649287"/>
          </a:xfrm>
          <a:prstGeom prst="irregularSeal1">
            <a:avLst/>
          </a:prstGeom>
          <a:solidFill>
            <a:srgbClr val="0070C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3" name="Пятно 1 12"/>
          <p:cNvSpPr/>
          <p:nvPr/>
        </p:nvSpPr>
        <p:spPr>
          <a:xfrm>
            <a:off x="2771800" y="5445224"/>
            <a:ext cx="642942" cy="649287"/>
          </a:xfrm>
          <a:prstGeom prst="irregularSeal1">
            <a:avLst/>
          </a:prstGeom>
          <a:solidFill>
            <a:srgbClr val="0070C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3929058" y="3929066"/>
            <a:ext cx="1785950" cy="357190"/>
          </a:xfrm>
          <a:prstGeom prst="roundRect">
            <a:avLst/>
          </a:prstGeom>
          <a:solidFill>
            <a:schemeClr val="bg2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>
              <a:defRPr/>
            </a:pPr>
            <a:r>
              <a:rPr lang="ru-RU" dirty="0">
                <a:solidFill>
                  <a:schemeClr val="accent4">
                    <a:lumMod val="75000"/>
                  </a:schemeClr>
                </a:solidFill>
              </a:rPr>
              <a:t>Не выявлены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3357554" y="2500306"/>
            <a:ext cx="1785950" cy="357189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>
              <a:defRPr/>
            </a:pPr>
            <a:r>
              <a:rPr lang="ru-RU" dirty="0">
                <a:solidFill>
                  <a:schemeClr val="accent4">
                    <a:lumMod val="75000"/>
                  </a:schemeClr>
                </a:solidFill>
              </a:rPr>
              <a:t>Не выявлены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5220072" y="4221088"/>
            <a:ext cx="378618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lvl="0" indent="-228600">
              <a:buFont typeface="+mj-lt"/>
              <a:buAutoNum type="arabicPeriod"/>
            </a:pPr>
            <a:r>
              <a:rPr lang="ru-RU" sz="1200" dirty="0" smtClean="0"/>
              <a:t>Сокращение времени выполнения поручений и заданий; 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1200" dirty="0" smtClean="0"/>
              <a:t>Снижение количества ошибок работников при подготовке отчетов;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1200" dirty="0" smtClean="0"/>
              <a:t>Повышение производительности; 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1200" dirty="0" smtClean="0"/>
              <a:t> Управляемость и прозрачность рабочего процесса; 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1200" dirty="0" err="1" smtClean="0"/>
              <a:t>Поддержани</a:t>
            </a:r>
            <a:endParaRPr lang="ru-RU" sz="1200" dirty="0" smtClean="0">
              <a:solidFill>
                <a:srgbClr val="000000"/>
              </a:solidFill>
            </a:endParaRPr>
          </a:p>
        </p:txBody>
      </p:sp>
      <p:sp>
        <p:nvSpPr>
          <p:cNvPr id="27" name="Пятно 1 26"/>
          <p:cNvSpPr/>
          <p:nvPr/>
        </p:nvSpPr>
        <p:spPr>
          <a:xfrm>
            <a:off x="3563888" y="5445224"/>
            <a:ext cx="642942" cy="649287"/>
          </a:xfrm>
          <a:prstGeom prst="irregularSeal1">
            <a:avLst/>
          </a:prstGeom>
          <a:solidFill>
            <a:srgbClr val="0070C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5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Номер слайда 3"/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8643938" y="6429375"/>
            <a:ext cx="450850" cy="28575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F6EFED9C-3036-4EBC-806E-ED89E0143B16}" type="slidenum">
              <a:rPr lang="ru-RU" altLang="ru-RU" b="1" smtClean="0">
                <a:solidFill>
                  <a:srgbClr val="23263C"/>
                </a:solidFill>
                <a:latin typeface="Franklin Gothic Book" pitchFamily="34" charset="0"/>
              </a:rPr>
              <a:pPr algn="ctr"/>
              <a:t>6</a:t>
            </a:fld>
            <a:endParaRPr lang="ru-RU" altLang="ru-RU" b="1">
              <a:solidFill>
                <a:srgbClr val="23263C"/>
              </a:solidFill>
              <a:latin typeface="Franklin Gothic Book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23838" y="332656"/>
            <a:ext cx="8686800" cy="847179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ru-RU" sz="1800" b="1" dirty="0">
                <a:latin typeface="Times New Roman" pitchFamily="18" charset="0"/>
                <a:cs typeface="Times New Roman" pitchFamily="18" charset="0"/>
              </a:rPr>
              <a:t>Анализ проблем процесса </a:t>
            </a:r>
            <a:r>
              <a:rPr lang="ru-RU" sz="18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18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 "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Введение системы 5Св </a:t>
            </a:r>
            <a:br>
              <a:rPr lang="ru-RU" sz="1800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методический кабинет</a:t>
            </a: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"</a:t>
            </a:r>
            <a:endParaRPr lang="ru-RU" sz="18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605" name="Text Box 14"/>
          <p:cNvSpPr txBox="1">
            <a:spLocks noChangeArrowheads="1"/>
          </p:cNvSpPr>
          <p:nvPr/>
        </p:nvSpPr>
        <p:spPr bwMode="auto">
          <a:xfrm>
            <a:off x="6875463" y="1355774"/>
            <a:ext cx="2268537" cy="489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 dirty="0">
                <a:solidFill>
                  <a:schemeClr val="tx2"/>
                </a:solidFill>
              </a:rPr>
              <a:t>Экономия  времени, мин.</a:t>
            </a:r>
          </a:p>
        </p:txBody>
      </p:sp>
      <p:sp>
        <p:nvSpPr>
          <p:cNvPr id="25606" name="Text Box 14"/>
          <p:cNvSpPr txBox="1">
            <a:spLocks noChangeArrowheads="1"/>
          </p:cNvSpPr>
          <p:nvPr/>
        </p:nvSpPr>
        <p:spPr bwMode="auto">
          <a:xfrm>
            <a:off x="881063" y="1427211"/>
            <a:ext cx="167481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>
                <a:solidFill>
                  <a:schemeClr val="tx2"/>
                </a:solidFill>
              </a:rPr>
              <a:t>Проблема</a:t>
            </a:r>
          </a:p>
        </p:txBody>
      </p:sp>
      <p:sp>
        <p:nvSpPr>
          <p:cNvPr id="25607" name="Text Box 14"/>
          <p:cNvSpPr txBox="1">
            <a:spLocks noChangeArrowheads="1"/>
          </p:cNvSpPr>
          <p:nvPr/>
        </p:nvSpPr>
        <p:spPr bwMode="auto">
          <a:xfrm>
            <a:off x="4418013" y="1424036"/>
            <a:ext cx="159385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>
                <a:solidFill>
                  <a:schemeClr val="tx2"/>
                </a:solidFill>
              </a:rPr>
              <a:t>Решение</a:t>
            </a:r>
          </a:p>
        </p:txBody>
      </p:sp>
      <p:sp>
        <p:nvSpPr>
          <p:cNvPr id="25608" name="TextBox 41"/>
          <p:cNvSpPr txBox="1">
            <a:spLocks noChangeArrowheads="1"/>
          </p:cNvSpPr>
          <p:nvPr/>
        </p:nvSpPr>
        <p:spPr bwMode="auto">
          <a:xfrm>
            <a:off x="142844" y="1928802"/>
            <a:ext cx="3657600" cy="463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ru-RU" sz="1200" dirty="0" smtClean="0"/>
              <a:t>Сокращение времени выполнения </a:t>
            </a:r>
            <a:endParaRPr lang="ru-RU" sz="1200" dirty="0" smtClean="0"/>
          </a:p>
          <a:p>
            <a:pPr>
              <a:defRPr/>
            </a:pPr>
            <a:r>
              <a:rPr lang="ru-RU" sz="1200" dirty="0" smtClean="0"/>
              <a:t>поручений </a:t>
            </a:r>
            <a:r>
              <a:rPr lang="ru-RU" sz="1200" dirty="0" smtClean="0"/>
              <a:t>и заданий</a:t>
            </a: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25609" name="TextBox 41"/>
          <p:cNvSpPr txBox="1">
            <a:spLocks noChangeArrowheads="1"/>
          </p:cNvSpPr>
          <p:nvPr/>
        </p:nvSpPr>
        <p:spPr bwMode="auto">
          <a:xfrm>
            <a:off x="3857620" y="1928802"/>
            <a:ext cx="3111953" cy="463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ru-RU" sz="1200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Разработка </a:t>
            </a:r>
            <a:r>
              <a:rPr lang="ru-RU" sz="1200" dirty="0" err="1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чек-листов</a:t>
            </a:r>
            <a:r>
              <a:rPr lang="ru-RU" sz="1200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 хранения отчетных </a:t>
            </a:r>
            <a:r>
              <a:rPr lang="ru-RU" sz="1200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материалов</a:t>
            </a:r>
            <a:endParaRPr lang="ru-RU" sz="1200" dirty="0">
              <a:solidFill>
                <a:srgbClr val="00B05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108396" y="1844824"/>
            <a:ext cx="8905875" cy="698500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dirty="0"/>
          </a:p>
        </p:txBody>
      </p:sp>
      <p:sp>
        <p:nvSpPr>
          <p:cNvPr id="39" name="Стрелка: вправо 3"/>
          <p:cNvSpPr/>
          <p:nvPr/>
        </p:nvSpPr>
        <p:spPr>
          <a:xfrm>
            <a:off x="3214678" y="2143116"/>
            <a:ext cx="441738" cy="20576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0" name="Стрелка: вправо 3"/>
          <p:cNvSpPr/>
          <p:nvPr/>
        </p:nvSpPr>
        <p:spPr>
          <a:xfrm>
            <a:off x="6804248" y="2060848"/>
            <a:ext cx="485105" cy="20503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5614" name="TextBox 41"/>
          <p:cNvSpPr txBox="1">
            <a:spLocks noChangeArrowheads="1"/>
          </p:cNvSpPr>
          <p:nvPr/>
        </p:nvSpPr>
        <p:spPr bwMode="auto">
          <a:xfrm>
            <a:off x="202059" y="2631024"/>
            <a:ext cx="3168650" cy="463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ru-RU" sz="1200" dirty="0" smtClean="0"/>
              <a:t>Снижение количества ошибок работников при подготовке отчетов</a:t>
            </a:r>
            <a:endParaRPr lang="ru-RU" sz="1200" b="1" dirty="0" smtClean="0">
              <a:solidFill>
                <a:srgbClr val="FF0000"/>
              </a:solidFill>
              <a:latin typeface="Calibri" pitchFamily="34" charset="0"/>
            </a:endParaRPr>
          </a:p>
        </p:txBody>
      </p:sp>
      <p:sp>
        <p:nvSpPr>
          <p:cNvPr id="25615" name="TextBox 41"/>
          <p:cNvSpPr txBox="1">
            <a:spLocks noChangeArrowheads="1"/>
          </p:cNvSpPr>
          <p:nvPr/>
        </p:nvSpPr>
        <p:spPr bwMode="auto">
          <a:xfrm>
            <a:off x="3786182" y="2786058"/>
            <a:ext cx="3384376" cy="2637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>
              <a:defRPr/>
            </a:pPr>
            <a:r>
              <a:rPr lang="ru-RU" altLang="ru-RU" sz="1100" b="1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Создание шаблона для </a:t>
            </a:r>
            <a:r>
              <a:rPr lang="ru-RU" altLang="ru-RU" sz="1100" b="1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обработки </a:t>
            </a:r>
            <a:r>
              <a:rPr lang="ru-RU" altLang="ru-RU" sz="1100" b="1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информации на</a:t>
            </a:r>
            <a:endParaRPr lang="ru-RU" altLang="ru-RU" sz="1100" b="1" dirty="0" smtClean="0">
              <a:solidFill>
                <a:srgbClr val="00B05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616" name="TextBox 41"/>
          <p:cNvSpPr txBox="1">
            <a:spLocks noChangeArrowheads="1"/>
          </p:cNvSpPr>
          <p:nvPr/>
        </p:nvSpPr>
        <p:spPr bwMode="auto">
          <a:xfrm>
            <a:off x="8028384" y="2382915"/>
            <a:ext cx="829568" cy="1325620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endParaRPr lang="ru-RU" altLang="ru-RU" sz="3600" b="1" dirty="0" smtClean="0">
              <a:solidFill>
                <a:schemeClr val="tx2"/>
              </a:solidFill>
            </a:endParaRPr>
          </a:p>
          <a:p>
            <a:pPr algn="ctr" eaLnBrk="1" hangingPunct="1">
              <a:lnSpc>
                <a:spcPct val="80000"/>
              </a:lnSpc>
            </a:pPr>
            <a:r>
              <a:rPr lang="ru-RU" altLang="ru-RU" sz="3600" b="1" dirty="0" smtClean="0">
                <a:solidFill>
                  <a:schemeClr val="tx2"/>
                </a:solidFill>
              </a:rPr>
              <a:t>15</a:t>
            </a:r>
          </a:p>
          <a:p>
            <a:pPr algn="ctr" eaLnBrk="1" hangingPunct="1">
              <a:lnSpc>
                <a:spcPct val="80000"/>
              </a:lnSpc>
            </a:pPr>
            <a:endParaRPr lang="ru-RU" altLang="ru-RU" sz="1400" b="1" dirty="0" smtClean="0">
              <a:solidFill>
                <a:schemeClr val="tx2"/>
              </a:solidFill>
            </a:endParaRPr>
          </a:p>
          <a:p>
            <a:pPr algn="ctr" eaLnBrk="1" hangingPunct="1">
              <a:lnSpc>
                <a:spcPct val="80000"/>
              </a:lnSpc>
            </a:pPr>
            <a:endParaRPr lang="ru-RU" altLang="ru-RU" sz="1400" b="1" dirty="0" smtClean="0">
              <a:solidFill>
                <a:schemeClr val="tx2"/>
              </a:solidFill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108396" y="2660799"/>
            <a:ext cx="8905875" cy="600075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47" name="Стрелка: вправо 3"/>
          <p:cNvSpPr/>
          <p:nvPr/>
        </p:nvSpPr>
        <p:spPr>
          <a:xfrm>
            <a:off x="3286116" y="2786058"/>
            <a:ext cx="404415" cy="24147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8" name="Стрелка: вправо 3"/>
          <p:cNvSpPr/>
          <p:nvPr/>
        </p:nvSpPr>
        <p:spPr>
          <a:xfrm>
            <a:off x="7380312" y="2780928"/>
            <a:ext cx="462657" cy="2880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5620" name="TextBox 41"/>
          <p:cNvSpPr txBox="1">
            <a:spLocks noChangeArrowheads="1"/>
          </p:cNvSpPr>
          <p:nvPr/>
        </p:nvSpPr>
        <p:spPr bwMode="auto">
          <a:xfrm>
            <a:off x="130621" y="3480595"/>
            <a:ext cx="3478213" cy="463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ru-RU" sz="1200" dirty="0" smtClean="0"/>
              <a:t>Повышение </a:t>
            </a:r>
            <a:r>
              <a:rPr lang="ru-RU" sz="1200" dirty="0" smtClean="0"/>
              <a:t>производительности </a:t>
            </a:r>
            <a:endParaRPr lang="ru-RU" sz="1200" b="1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1200" b="1" dirty="0">
              <a:solidFill>
                <a:srgbClr val="FF0000"/>
              </a:solidFill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130621" y="3418037"/>
            <a:ext cx="8905875" cy="636587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3" name="Стрелка: вправо 3"/>
          <p:cNvSpPr/>
          <p:nvPr/>
        </p:nvSpPr>
        <p:spPr>
          <a:xfrm>
            <a:off x="3275857" y="3584724"/>
            <a:ext cx="426640" cy="27632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4" name="Стрелка: вправо 3"/>
          <p:cNvSpPr/>
          <p:nvPr/>
        </p:nvSpPr>
        <p:spPr>
          <a:xfrm>
            <a:off x="7308304" y="3501008"/>
            <a:ext cx="504056" cy="28949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5626" name="TextBox 41"/>
          <p:cNvSpPr txBox="1">
            <a:spLocks noChangeArrowheads="1"/>
          </p:cNvSpPr>
          <p:nvPr/>
        </p:nvSpPr>
        <p:spPr bwMode="auto">
          <a:xfrm>
            <a:off x="224284" y="4214818"/>
            <a:ext cx="3281362" cy="463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ru-RU" sz="1200" dirty="0" smtClean="0"/>
              <a:t>Управляемость и прозрачность рабочего </a:t>
            </a:r>
            <a:r>
              <a:rPr lang="ru-RU" sz="1200" dirty="0" smtClean="0"/>
              <a:t>процесса</a:t>
            </a:r>
            <a:endParaRPr lang="ru-RU" sz="1200" b="1" dirty="0">
              <a:solidFill>
                <a:srgbClr val="FF0000"/>
              </a:solidFill>
            </a:endParaRPr>
          </a:p>
        </p:txBody>
      </p:sp>
      <p:sp>
        <p:nvSpPr>
          <p:cNvPr id="25628" name="TextBox 41"/>
          <p:cNvSpPr txBox="1">
            <a:spLocks noChangeArrowheads="1"/>
          </p:cNvSpPr>
          <p:nvPr/>
        </p:nvSpPr>
        <p:spPr bwMode="auto">
          <a:xfrm>
            <a:off x="8028384" y="4293096"/>
            <a:ext cx="638435" cy="389980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2400" b="1" dirty="0" smtClean="0">
                <a:solidFill>
                  <a:schemeClr val="tx2"/>
                </a:solidFill>
              </a:rPr>
              <a:t>12</a:t>
            </a:r>
            <a:endParaRPr lang="ru-RU" altLang="ru-RU" sz="2400" b="1" dirty="0">
              <a:solidFill>
                <a:schemeClr val="tx2"/>
              </a:solidFill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130621" y="4176862"/>
            <a:ext cx="8905875" cy="633412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9" name="Стрелка: вправо 3"/>
          <p:cNvSpPr/>
          <p:nvPr/>
        </p:nvSpPr>
        <p:spPr>
          <a:xfrm>
            <a:off x="3275857" y="4338787"/>
            <a:ext cx="426640" cy="24234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0" name="Стрелка: вправо 3"/>
          <p:cNvSpPr/>
          <p:nvPr/>
        </p:nvSpPr>
        <p:spPr>
          <a:xfrm>
            <a:off x="7308304" y="4365104"/>
            <a:ext cx="504056" cy="2880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3" name="TextBox 41"/>
          <p:cNvSpPr txBox="1">
            <a:spLocks noChangeArrowheads="1"/>
          </p:cNvSpPr>
          <p:nvPr/>
        </p:nvSpPr>
        <p:spPr bwMode="auto">
          <a:xfrm>
            <a:off x="8028384" y="5301208"/>
            <a:ext cx="951360" cy="439224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2800" b="1" dirty="0" smtClean="0">
                <a:solidFill>
                  <a:schemeClr val="tx2"/>
                </a:solidFill>
              </a:rPr>
              <a:t>10</a:t>
            </a:r>
            <a:endParaRPr lang="ru-RU" altLang="ru-RU" sz="2800" b="1" dirty="0">
              <a:solidFill>
                <a:schemeClr val="tx2"/>
              </a:solidFill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130621" y="4941168"/>
            <a:ext cx="8905875" cy="1202476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35" name="Стрелка: вправо 3"/>
          <p:cNvSpPr/>
          <p:nvPr/>
        </p:nvSpPr>
        <p:spPr>
          <a:xfrm>
            <a:off x="3347865" y="5103093"/>
            <a:ext cx="354632" cy="27012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6" name="Стрелка: вправо 3"/>
          <p:cNvSpPr/>
          <p:nvPr/>
        </p:nvSpPr>
        <p:spPr>
          <a:xfrm>
            <a:off x="7380312" y="5085184"/>
            <a:ext cx="504056" cy="28803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9" name="TextBox 41"/>
          <p:cNvSpPr txBox="1">
            <a:spLocks noChangeArrowheads="1"/>
          </p:cNvSpPr>
          <p:nvPr/>
        </p:nvSpPr>
        <p:spPr bwMode="auto">
          <a:xfrm>
            <a:off x="251520" y="4980136"/>
            <a:ext cx="3281362" cy="463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/>
            <a:r>
              <a:rPr lang="ru-RU" sz="1200" dirty="0" smtClean="0"/>
              <a:t>Поддержание постоянного порядка на рабочем </a:t>
            </a:r>
            <a:r>
              <a:rPr lang="ru-RU" sz="1200" dirty="0" smtClean="0"/>
              <a:t>месте</a:t>
            </a:r>
            <a:endParaRPr lang="ru-RU" sz="1200" dirty="0"/>
          </a:p>
        </p:txBody>
      </p:sp>
      <p:sp>
        <p:nvSpPr>
          <p:cNvPr id="44" name="Прямоугольник 43"/>
          <p:cNvSpPr/>
          <p:nvPr/>
        </p:nvSpPr>
        <p:spPr>
          <a:xfrm>
            <a:off x="4000496" y="4286256"/>
            <a:ext cx="300039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Единые требования </a:t>
            </a:r>
            <a:endParaRPr lang="ru-RU" sz="1200" b="1" dirty="0" smtClean="0">
              <a:solidFill>
                <a:srgbClr val="00B05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3786182" y="5072074"/>
            <a:ext cx="359413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Разработка </a:t>
            </a:r>
            <a:r>
              <a:rPr lang="ru-RU" sz="1200" dirty="0" err="1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чек-листов</a:t>
            </a:r>
            <a:r>
              <a:rPr lang="ru-RU" sz="1200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 хранения отчетных материалов</a:t>
            </a:r>
            <a:endParaRPr lang="ru-RU" sz="1200" dirty="0">
              <a:solidFill>
                <a:srgbClr val="00B05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7" name="TextBox 41"/>
          <p:cNvSpPr txBox="1">
            <a:spLocks noChangeArrowheads="1"/>
          </p:cNvSpPr>
          <p:nvPr/>
        </p:nvSpPr>
        <p:spPr bwMode="auto">
          <a:xfrm>
            <a:off x="3786182" y="3571876"/>
            <a:ext cx="3384376" cy="2637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>
              <a:defRPr/>
            </a:pPr>
            <a:r>
              <a:rPr lang="ru-RU" altLang="ru-RU" sz="1100" b="1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Создание шаблона для </a:t>
            </a:r>
            <a:r>
              <a:rPr lang="ru-RU" altLang="ru-RU" sz="1100" b="1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обработки </a:t>
            </a:r>
            <a:r>
              <a:rPr lang="ru-RU" altLang="ru-RU" sz="1100" b="1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информации на</a:t>
            </a:r>
            <a:endParaRPr lang="ru-RU" altLang="ru-RU" sz="1100" b="1" dirty="0" smtClean="0">
              <a:solidFill>
                <a:srgbClr val="00B050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68579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/>
          <p:nvPr/>
        </p:nvSpPr>
        <p:spPr>
          <a:xfrm>
            <a:off x="3500430" y="1643050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3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5143504" y="1643050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4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214282" y="3786190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6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3357554" y="3786190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7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1714480" y="1643050"/>
            <a:ext cx="503238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2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0" y="1643050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1</a:t>
            </a:r>
          </a:p>
        </p:txBody>
      </p:sp>
      <p:sp>
        <p:nvSpPr>
          <p:cNvPr id="14344" name="Заголовок 1"/>
          <p:cNvSpPr>
            <a:spLocks noGrp="1"/>
          </p:cNvSpPr>
          <p:nvPr>
            <p:ph type="title"/>
          </p:nvPr>
        </p:nvSpPr>
        <p:spPr>
          <a:xfrm>
            <a:off x="0" y="836613"/>
            <a:ext cx="9144000" cy="838200"/>
          </a:xfrm>
        </p:spPr>
        <p:txBody>
          <a:bodyPr/>
          <a:lstStyle/>
          <a:p>
            <a:r>
              <a:rPr lang="ru-RU" sz="1600" dirty="0" smtClean="0">
                <a:solidFill>
                  <a:schemeClr val="accent1"/>
                </a:solidFill>
                <a:latin typeface="Franklin Gothic Medium" pitchFamily="34" charset="0"/>
              </a:rPr>
              <a:t>Карта текущего состояния процесса</a:t>
            </a:r>
            <a:br>
              <a:rPr lang="ru-RU" sz="1600" dirty="0" smtClean="0">
                <a:solidFill>
                  <a:schemeClr val="accent1"/>
                </a:solidFill>
                <a:latin typeface="Franklin Gothic Medium" pitchFamily="34" charset="0"/>
              </a:rPr>
            </a:br>
            <a:r>
              <a:rPr lang="ru-RU" sz="1600" dirty="0" smtClean="0">
                <a:solidFill>
                  <a:schemeClr val="accent1">
                    <a:lumMod val="75000"/>
                  </a:schemeClr>
                </a:solidFill>
                <a:latin typeface="Franklin Gothic Medium" pitchFamily="34" charset="0"/>
              </a:rPr>
              <a:t>организации рабочего пространства в методическом кабинете</a:t>
            </a:r>
            <a:endParaRPr lang="ru-RU" sz="1600" dirty="0" smtClean="0">
              <a:solidFill>
                <a:srgbClr val="0070C0"/>
              </a:solidFill>
              <a:latin typeface="Franklin Gothic Medium" pitchFamily="34" charset="0"/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133350" y="333375"/>
            <a:ext cx="8686800" cy="8382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  <a:t>Введение в предметную область</a:t>
            </a:r>
            <a:b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</a:br>
            <a: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  <a:t>(описание ситуации «как Будет»)</a:t>
            </a:r>
            <a:b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</a:br>
            <a:endParaRPr lang="ru-RU" sz="3000" b="1" dirty="0">
              <a:solidFill>
                <a:schemeClr val="tx1"/>
              </a:solidFill>
              <a:latin typeface="Franklin Gothic Medium" pitchFamily="34" charset="0"/>
            </a:endParaRPr>
          </a:p>
        </p:txBody>
      </p:sp>
      <p:sp>
        <p:nvSpPr>
          <p:cNvPr id="17" name="Стрелка вправо 16"/>
          <p:cNvSpPr/>
          <p:nvPr/>
        </p:nvSpPr>
        <p:spPr>
          <a:xfrm>
            <a:off x="1639869" y="2571744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3" name="Стрелка вправо 22"/>
          <p:cNvSpPr/>
          <p:nvPr/>
        </p:nvSpPr>
        <p:spPr>
          <a:xfrm>
            <a:off x="3355969" y="2643182"/>
            <a:ext cx="287337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6" name="Стрелка вправо 25"/>
          <p:cNvSpPr/>
          <p:nvPr/>
        </p:nvSpPr>
        <p:spPr>
          <a:xfrm>
            <a:off x="5076824" y="2643182"/>
            <a:ext cx="352431" cy="21431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>
            <a:off x="3643306" y="3071810"/>
            <a:ext cx="144145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Стрелка вправо 28"/>
          <p:cNvSpPr/>
          <p:nvPr/>
        </p:nvSpPr>
        <p:spPr>
          <a:xfrm>
            <a:off x="7358082" y="2643182"/>
            <a:ext cx="357190" cy="21431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2" name="Стрелка вправо 31"/>
          <p:cNvSpPr/>
          <p:nvPr/>
        </p:nvSpPr>
        <p:spPr>
          <a:xfrm>
            <a:off x="3071802" y="4429132"/>
            <a:ext cx="357190" cy="21431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428596" y="4856172"/>
            <a:ext cx="2643206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Стрелка вправо 39"/>
          <p:cNvSpPr/>
          <p:nvPr/>
        </p:nvSpPr>
        <p:spPr>
          <a:xfrm>
            <a:off x="142844" y="4498984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9" name="TextBox 48"/>
          <p:cNvSpPr txBox="1"/>
          <p:nvPr/>
        </p:nvSpPr>
        <p:spPr>
          <a:xfrm>
            <a:off x="4572000" y="5643578"/>
            <a:ext cx="432120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C00000"/>
                </a:solidFill>
                <a:latin typeface="+mn-lt"/>
                <a:cs typeface="Arial" charset="0"/>
              </a:rPr>
              <a:t>ВПП (время протекания процесса) </a:t>
            </a:r>
            <a:r>
              <a:rPr lang="ru-RU" sz="1200" b="1" dirty="0" smtClean="0">
                <a:solidFill>
                  <a:srgbClr val="C00000"/>
                </a:solidFill>
                <a:latin typeface="+mn-lt"/>
                <a:cs typeface="Arial" charset="0"/>
              </a:rPr>
              <a:t>100 –  185 мин.</a:t>
            </a:r>
            <a:endParaRPr lang="ru-RU" sz="1200" b="1" dirty="0">
              <a:solidFill>
                <a:srgbClr val="C00000"/>
              </a:solidFill>
              <a:latin typeface="+mn-lt"/>
              <a:cs typeface="Arial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7429520" y="1643050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5</a:t>
            </a:r>
          </a:p>
        </p:txBody>
      </p:sp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F4FBE110-AE23-447E-BC5E-ACA3261C4DB1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7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cxnSp>
        <p:nvCxnSpPr>
          <p:cNvPr id="110" name="Прямая соединительная линия 109"/>
          <p:cNvCxnSpPr/>
          <p:nvPr/>
        </p:nvCxnSpPr>
        <p:spPr>
          <a:xfrm>
            <a:off x="214282" y="2784470"/>
            <a:ext cx="1357322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Прямая соединительная линия 116"/>
          <p:cNvCxnSpPr/>
          <p:nvPr/>
        </p:nvCxnSpPr>
        <p:spPr>
          <a:xfrm>
            <a:off x="3643306" y="2428868"/>
            <a:ext cx="144145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Прямоугольник 51"/>
          <p:cNvSpPr/>
          <p:nvPr/>
        </p:nvSpPr>
        <p:spPr>
          <a:xfrm>
            <a:off x="214282" y="2000240"/>
            <a:ext cx="1439862" cy="1439590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/>
              <a:t>Руководитель </a:t>
            </a:r>
            <a:endParaRPr lang="ru-RU" sz="1100" strike="sngStrike" dirty="0" smtClean="0"/>
          </a:p>
          <a:p>
            <a:pPr algn="ctr">
              <a:defRPr/>
            </a:pPr>
            <a:endParaRPr lang="ru-RU" sz="5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1100" dirty="0" smtClean="0"/>
          </a:p>
          <a:p>
            <a:pPr algn="ctr">
              <a:defRPr/>
            </a:pPr>
            <a:r>
              <a:rPr lang="ru-RU" sz="1100" dirty="0" smtClean="0"/>
              <a:t>Поручение </a:t>
            </a:r>
            <a:r>
              <a:rPr lang="ru-RU" sz="1100" dirty="0" smtClean="0"/>
              <a:t/>
            </a:r>
            <a:br>
              <a:rPr lang="ru-RU" sz="1100" dirty="0" smtClean="0"/>
            </a:br>
            <a:r>
              <a:rPr lang="ru-RU" sz="1100" dirty="0" smtClean="0"/>
              <a:t>о сдаче отчета</a:t>
            </a:r>
          </a:p>
          <a:p>
            <a:pPr algn="ctr">
              <a:defRPr/>
            </a:pPr>
            <a:endParaRPr lang="ru-RU" sz="5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(10-20 мин.) </a:t>
            </a:r>
            <a:endParaRPr lang="ru-RU" sz="900" dirty="0">
              <a:solidFill>
                <a:schemeClr val="tx1"/>
              </a:solidFill>
            </a:endParaRPr>
          </a:p>
        </p:txBody>
      </p:sp>
      <p:cxnSp>
        <p:nvCxnSpPr>
          <p:cNvPr id="116" name="Прямая соединительная линия 115"/>
          <p:cNvCxnSpPr/>
          <p:nvPr/>
        </p:nvCxnSpPr>
        <p:spPr>
          <a:xfrm>
            <a:off x="214282" y="2355842"/>
            <a:ext cx="1368425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/>
          <p:nvPr/>
        </p:nvCxnSpPr>
        <p:spPr>
          <a:xfrm>
            <a:off x="214282" y="3214686"/>
            <a:ext cx="1428760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Прямоугольник 55"/>
          <p:cNvSpPr/>
          <p:nvPr/>
        </p:nvSpPr>
        <p:spPr>
          <a:xfrm>
            <a:off x="3643306" y="2000240"/>
            <a:ext cx="1441450" cy="1500768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Сотрудники МКОУ</a:t>
            </a:r>
          </a:p>
          <a:p>
            <a:pPr algn="ctr">
              <a:defRPr/>
            </a:pPr>
            <a:endParaRPr lang="ru-RU" sz="8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050" dirty="0" smtClean="0"/>
              <a:t>Передача  информации для выборки материала (по электронным формам связи) </a:t>
            </a:r>
          </a:p>
          <a:p>
            <a:pPr algn="ctr">
              <a:defRPr/>
            </a:pPr>
            <a:endParaRPr lang="ru-RU" sz="1050" dirty="0" smtClean="0"/>
          </a:p>
          <a:p>
            <a:pPr algn="ctr">
              <a:defRPr/>
            </a:pPr>
            <a:r>
              <a:rPr lang="ru-RU" sz="800" dirty="0" smtClean="0">
                <a:solidFill>
                  <a:schemeClr val="tx1"/>
                </a:solidFill>
              </a:rPr>
              <a:t>(10- 20 мин.) </a:t>
            </a:r>
          </a:p>
          <a:p>
            <a:pPr algn="ctr">
              <a:defRPr/>
            </a:pPr>
            <a:endParaRPr lang="ru-RU" sz="5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 smtClean="0">
              <a:solidFill>
                <a:schemeClr val="tx1"/>
              </a:solidFill>
            </a:endParaRPr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3635896" y="3284984"/>
            <a:ext cx="1439863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/>
          <p:cNvCxnSpPr/>
          <p:nvPr/>
        </p:nvCxnSpPr>
        <p:spPr>
          <a:xfrm>
            <a:off x="3714744" y="2285992"/>
            <a:ext cx="1439863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Прямоугольник 63"/>
          <p:cNvSpPr/>
          <p:nvPr/>
        </p:nvSpPr>
        <p:spPr>
          <a:xfrm>
            <a:off x="5500694" y="2000240"/>
            <a:ext cx="1928826" cy="1285884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/>
              <a:t>Руководитель </a:t>
            </a:r>
            <a:endParaRPr lang="ru-RU" sz="700" b="1" dirty="0" smtClean="0"/>
          </a:p>
          <a:p>
            <a:pPr algn="ctr">
              <a:defRPr/>
            </a:pPr>
            <a:endParaRPr lang="ru-RU" sz="500" b="1" dirty="0" smtClean="0"/>
          </a:p>
          <a:p>
            <a:pPr algn="ctr">
              <a:defRPr/>
            </a:pPr>
            <a:r>
              <a:rPr lang="ru-RU" sz="1100" dirty="0" smtClean="0"/>
              <a:t>Получение текстовой информации для выборки материала (по электронным формам связи) </a:t>
            </a:r>
          </a:p>
          <a:p>
            <a:pPr algn="ctr">
              <a:defRPr/>
            </a:pPr>
            <a:endParaRPr lang="ru-RU" sz="5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(10-15  мин.) </a:t>
            </a:r>
            <a:endParaRPr lang="ru-RU" sz="900" dirty="0">
              <a:solidFill>
                <a:schemeClr val="tx1"/>
              </a:solidFill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5500694" y="3000372"/>
            <a:ext cx="1928826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Прямая соединительная линия 59"/>
          <p:cNvCxnSpPr/>
          <p:nvPr/>
        </p:nvCxnSpPr>
        <p:spPr>
          <a:xfrm>
            <a:off x="5500694" y="2285992"/>
            <a:ext cx="1928826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Прямоугольник 64"/>
          <p:cNvSpPr/>
          <p:nvPr/>
        </p:nvSpPr>
        <p:spPr>
          <a:xfrm>
            <a:off x="7715272" y="2000240"/>
            <a:ext cx="1285884" cy="1285884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/>
              <a:t>Руководитель </a:t>
            </a:r>
            <a:endParaRPr lang="ru-RU" sz="700" b="1" dirty="0" smtClean="0"/>
          </a:p>
          <a:p>
            <a:pPr algn="ctr">
              <a:defRPr/>
            </a:pPr>
            <a:endParaRPr lang="ru-RU" sz="800" b="1" dirty="0" smtClean="0"/>
          </a:p>
          <a:p>
            <a:pPr algn="ctr">
              <a:defRPr/>
            </a:pPr>
            <a:r>
              <a:rPr lang="ru-RU" sz="1100" dirty="0" smtClean="0"/>
              <a:t>Отбор материалов   </a:t>
            </a:r>
            <a:endParaRPr lang="ru-RU" sz="1100" dirty="0"/>
          </a:p>
          <a:p>
            <a:pPr algn="ctr">
              <a:defRPr/>
            </a:pPr>
            <a:endParaRPr lang="ru-RU" sz="9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 (15-30 мин.)</a:t>
            </a:r>
            <a:endParaRPr lang="ru-RU" sz="900" dirty="0">
              <a:solidFill>
                <a:schemeClr val="tx1"/>
              </a:solidFill>
            </a:endParaRPr>
          </a:p>
        </p:txBody>
      </p:sp>
      <p:cxnSp>
        <p:nvCxnSpPr>
          <p:cNvPr id="122" name="Прямая соединительная линия 121"/>
          <p:cNvCxnSpPr/>
          <p:nvPr/>
        </p:nvCxnSpPr>
        <p:spPr>
          <a:xfrm>
            <a:off x="7715272" y="2285992"/>
            <a:ext cx="1285884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/>
          <p:cNvCxnSpPr/>
          <p:nvPr/>
        </p:nvCxnSpPr>
        <p:spPr>
          <a:xfrm>
            <a:off x="7715272" y="3000372"/>
            <a:ext cx="1285884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Прямоугольник 67"/>
          <p:cNvSpPr/>
          <p:nvPr/>
        </p:nvSpPr>
        <p:spPr>
          <a:xfrm>
            <a:off x="428596" y="4071942"/>
            <a:ext cx="2654309" cy="1285884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Сотрудники МКОУ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500" dirty="0">
              <a:solidFill>
                <a:schemeClr val="tx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 smtClean="0"/>
              <a:t>Передача полной информации по отчету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 smtClean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500" dirty="0" smtClean="0">
              <a:solidFill>
                <a:schemeClr val="tx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(20-35 мин.) </a:t>
            </a:r>
            <a:endParaRPr lang="ru-RU" sz="900" dirty="0">
              <a:solidFill>
                <a:schemeClr val="tx1"/>
              </a:solidFill>
            </a:endParaRPr>
          </a:p>
        </p:txBody>
      </p:sp>
      <p:cxnSp>
        <p:nvCxnSpPr>
          <p:cNvPr id="69" name="Прямая соединительная линия 68"/>
          <p:cNvCxnSpPr/>
          <p:nvPr/>
        </p:nvCxnSpPr>
        <p:spPr>
          <a:xfrm>
            <a:off x="428596" y="4357694"/>
            <a:ext cx="2643206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Прямая соединительная линия 114"/>
          <p:cNvCxnSpPr/>
          <p:nvPr/>
        </p:nvCxnSpPr>
        <p:spPr>
          <a:xfrm>
            <a:off x="428596" y="5072074"/>
            <a:ext cx="2643206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Прямоугольник 70"/>
          <p:cNvSpPr/>
          <p:nvPr/>
        </p:nvSpPr>
        <p:spPr>
          <a:xfrm>
            <a:off x="3500430" y="4071942"/>
            <a:ext cx="2155830" cy="1285884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/>
              <a:t>Руководитель</a:t>
            </a:r>
            <a:endParaRPr lang="ru-RU" sz="1100" dirty="0" smtClean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8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100" dirty="0" smtClean="0"/>
              <a:t>Отправка отчета</a:t>
            </a:r>
            <a:endParaRPr lang="ru-RU" sz="9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 (10- 30  мин.) </a:t>
            </a:r>
            <a:endParaRPr lang="ru-RU" sz="900" dirty="0">
              <a:solidFill>
                <a:schemeClr val="tx1"/>
              </a:solidFill>
            </a:endParaRPr>
          </a:p>
        </p:txBody>
      </p:sp>
      <p:cxnSp>
        <p:nvCxnSpPr>
          <p:cNvPr id="72" name="Прямая соединительная линия 71"/>
          <p:cNvCxnSpPr/>
          <p:nvPr/>
        </p:nvCxnSpPr>
        <p:spPr>
          <a:xfrm>
            <a:off x="3500430" y="5000636"/>
            <a:ext cx="2143140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Прямая соединительная линия 72"/>
          <p:cNvCxnSpPr/>
          <p:nvPr/>
        </p:nvCxnSpPr>
        <p:spPr>
          <a:xfrm>
            <a:off x="3500430" y="4357694"/>
            <a:ext cx="2143140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Прямоугольник 58"/>
          <p:cNvSpPr/>
          <p:nvPr/>
        </p:nvSpPr>
        <p:spPr>
          <a:xfrm>
            <a:off x="142844" y="2071678"/>
            <a:ext cx="214282" cy="122413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ВХОД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5857884" y="3857628"/>
            <a:ext cx="428628" cy="1500198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ВЫХОД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2000232" y="2000240"/>
            <a:ext cx="1439863" cy="1357322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Сотрудники МКОУ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5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бор и подготовка информации </a:t>
            </a:r>
          </a:p>
          <a:p>
            <a:pPr algn="ctr">
              <a:defRPr/>
            </a:pPr>
            <a:r>
              <a:rPr lang="ru-RU" sz="1000" dirty="0" smtClean="0"/>
              <a:t>(по разработанным алгоритму и шаблону)</a:t>
            </a:r>
          </a:p>
          <a:p>
            <a:pPr algn="ctr"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 </a:t>
            </a:r>
          </a:p>
          <a:p>
            <a:pPr algn="ctr">
              <a:defRPr/>
            </a:pPr>
            <a:endParaRPr lang="ru-RU" sz="9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(25-35 мин.) </a:t>
            </a:r>
          </a:p>
          <a:p>
            <a:pPr algn="ctr">
              <a:defRPr/>
            </a:pPr>
            <a:endParaRPr lang="ru-RU" sz="9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800" dirty="0" smtClean="0">
              <a:solidFill>
                <a:schemeClr val="tx1"/>
              </a:solidFill>
            </a:endParaRPr>
          </a:p>
        </p:txBody>
      </p:sp>
      <p:cxnSp>
        <p:nvCxnSpPr>
          <p:cNvPr id="70" name="Прямая соединительная линия 69"/>
          <p:cNvCxnSpPr/>
          <p:nvPr/>
        </p:nvCxnSpPr>
        <p:spPr>
          <a:xfrm>
            <a:off x="2000232" y="3071810"/>
            <a:ext cx="1439863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>
            <a:off x="2000232" y="2285992"/>
            <a:ext cx="1439863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Прямоугольник 49"/>
          <p:cNvSpPr/>
          <p:nvPr/>
        </p:nvSpPr>
        <p:spPr>
          <a:xfrm>
            <a:off x="323528" y="5805264"/>
            <a:ext cx="914400" cy="288032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52"/>
          <p:cNvSpPr/>
          <p:nvPr/>
        </p:nvSpPr>
        <p:spPr>
          <a:xfrm>
            <a:off x="1835696" y="5805264"/>
            <a:ext cx="914400" cy="288032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Прямоугольник 65"/>
          <p:cNvSpPr/>
          <p:nvPr/>
        </p:nvSpPr>
        <p:spPr>
          <a:xfrm>
            <a:off x="1763688" y="6309320"/>
            <a:ext cx="1296144" cy="3603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 smtClean="0">
                <a:solidFill>
                  <a:schemeClr val="tx1"/>
                </a:solidFill>
              </a:rPr>
              <a:t>Не изменилось</a:t>
            </a:r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179512" y="6309320"/>
            <a:ext cx="1296144" cy="3603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 smtClean="0">
                <a:solidFill>
                  <a:schemeClr val="tx1"/>
                </a:solidFill>
              </a:rPr>
              <a:t>Изменилось</a:t>
            </a:r>
            <a:endParaRPr lang="ru-RU" sz="1200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4514" name="think-cell Slide" r:id="rId4" imgW="360" imgH="360" progId="">
              <p:embed/>
            </p:oleObj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8</a:t>
            </a:fld>
            <a:endParaRPr lang="ru-RU" sz="1400"/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64515" name="Picture 3"/>
          <p:cNvPicPr>
            <a:picLocks noChangeAspect="1" noChangeArrowheads="1"/>
          </p:cNvPicPr>
          <p:nvPr/>
        </p:nvPicPr>
        <p:blipFill>
          <a:blip r:embed="rId5"/>
          <a:srcRect l="26354" t="21484" r="3367" b="6250"/>
          <a:stretch>
            <a:fillRect/>
          </a:stretch>
        </p:blipFill>
        <p:spPr bwMode="auto">
          <a:xfrm>
            <a:off x="0" y="785794"/>
            <a:ext cx="9144064" cy="55721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4108593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9939" name="think-cell Slide" r:id="rId4" imgW="360" imgH="360" progId="">
              <p:embed/>
            </p:oleObj>
          </a:graphicData>
        </a:graphic>
      </p:graphicFrame>
      <p:sp>
        <p:nvSpPr>
          <p:cNvPr id="71705" name="Заголовок 1"/>
          <p:cNvSpPr>
            <a:spLocks noGrp="1"/>
          </p:cNvSpPr>
          <p:nvPr>
            <p:ph type="title"/>
          </p:nvPr>
        </p:nvSpPr>
        <p:spPr>
          <a:xfrm>
            <a:off x="247650" y="116632"/>
            <a:ext cx="8648700" cy="439738"/>
          </a:xfrm>
        </p:spPr>
        <p:txBody>
          <a:bodyPr>
            <a:noAutofit/>
          </a:bodyPr>
          <a:lstStyle/>
          <a:p>
            <a:r>
              <a:rPr lang="ru-RU" sz="36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Достигнутые результаты (было и стало) 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9</a:t>
            </a:fld>
            <a:endParaRPr lang="ru-RU" sz="140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017345943"/>
              </p:ext>
            </p:extLst>
          </p:nvPr>
        </p:nvGraphicFramePr>
        <p:xfrm>
          <a:off x="179512" y="714356"/>
          <a:ext cx="8607330" cy="5584811"/>
        </p:xfrm>
        <a:graphic>
          <a:graphicData uri="http://schemas.openxmlformats.org/drawingml/2006/table">
            <a:tbl>
              <a:tblPr firstRow="1" firstCol="1" bandRow="1">
                <a:tableStyleId>{B301B821-A1FF-4177-AEE7-76D212191A09}</a:tableStyleId>
              </a:tblPr>
              <a:tblGrid>
                <a:gridCol w="1338988"/>
                <a:gridCol w="2553434"/>
                <a:gridCol w="1750231"/>
                <a:gridCol w="2964677"/>
              </a:tblGrid>
              <a:tr h="57150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effectLst/>
                        </a:rPr>
                        <a:t>БЫЛО</a:t>
                      </a:r>
                      <a:endParaRPr lang="ru-RU" sz="1600" b="1" u="none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600" b="1" u="none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effectLst/>
                        </a:rPr>
                        <a:t>СТАЛО</a:t>
                      </a: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</a:tr>
              <a:tr h="171984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   </a:t>
                      </a:r>
                      <a:r>
                        <a:rPr lang="ru-RU" sz="1400" b="1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ереизбыток </a:t>
                      </a:r>
                      <a:r>
                        <a:rPr lang="ru-RU" sz="1400" b="1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нформации</a:t>
                      </a:r>
                      <a:endParaRPr lang="ru-RU" sz="1400" b="1" dirty="0" smtClean="0">
                        <a:solidFill>
                          <a:srgbClr val="FF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здан</a:t>
                      </a:r>
                      <a:r>
                        <a:rPr lang="ru-RU" sz="1400" b="1" baseline="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400" b="1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алгоритм по подготовке </a:t>
                      </a:r>
                      <a:r>
                        <a:rPr lang="ru-RU" sz="1400" b="1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тчетности</a:t>
                      </a:r>
                      <a:endParaRPr lang="ru-RU" sz="1400" b="1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37274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70510" algn="l"/>
                        </a:tabLst>
                        <a:defRPr/>
                      </a:pPr>
                      <a:r>
                        <a:rPr lang="ru-RU" sz="1400" b="1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тсутствие единого стиля оформления текстовой информации</a:t>
                      </a:r>
                      <a:endParaRPr lang="ru-RU" sz="1050" b="1" dirty="0" smtClean="0">
                        <a:solidFill>
                          <a:srgbClr val="FF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зработка </a:t>
                      </a:r>
                      <a:r>
                        <a:rPr lang="ru-RU" sz="1400" dirty="0" err="1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чек-листов</a:t>
                      </a:r>
                      <a:r>
                        <a:rPr lang="ru-RU" sz="140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хранения отчетных материалов</a:t>
                      </a:r>
                      <a:endParaRPr lang="ru-RU" sz="1400" dirty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5618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defRPr/>
                      </a:pPr>
                      <a:r>
                        <a:rPr lang="ru-RU" altLang="ru-RU" sz="1600" b="1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Передача материала по электронным формам связи</a:t>
                      </a: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2" name="Picture 3" descr="D:\Мои документы\Desktop\куча мала.jpe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571604" y="1357298"/>
            <a:ext cx="2520281" cy="175655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9943" name="Picture 7" descr="D:\Мои документы\Desktop\панра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835696" y="3717032"/>
            <a:ext cx="2088232" cy="2199713"/>
          </a:xfrm>
          <a:prstGeom prst="rect">
            <a:avLst/>
          </a:prstGeom>
          <a:noFill/>
        </p:spPr>
      </p:pic>
      <p:pic>
        <p:nvPicPr>
          <p:cNvPr id="39941" name="Picture 5" descr="D:\Мои документы\Desktop\Новая папка\20191024_154520.jpg"/>
          <p:cNvPicPr>
            <a:picLocks noChangeAspect="1" noChangeArrowheads="1"/>
          </p:cNvPicPr>
          <p:nvPr/>
        </p:nvPicPr>
        <p:blipFill>
          <a:blip r:embed="rId7" cstate="print"/>
          <a:srcRect b="54313"/>
          <a:stretch>
            <a:fillRect/>
          </a:stretch>
        </p:blipFill>
        <p:spPr bwMode="auto">
          <a:xfrm>
            <a:off x="6000760" y="3643314"/>
            <a:ext cx="2643206" cy="1681902"/>
          </a:xfrm>
          <a:prstGeom prst="rect">
            <a:avLst/>
          </a:prstGeom>
          <a:noFill/>
        </p:spPr>
      </p:pic>
      <p:pic>
        <p:nvPicPr>
          <p:cNvPr id="5" name="Picture 5" descr="C:\Users\User\Downloads\20210408_140053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286512" y="1571612"/>
            <a:ext cx="2158983" cy="121442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4108593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69</TotalTime>
  <Words>562</Words>
  <Application>Microsoft Office PowerPoint</Application>
  <PresentationFormat>Экран (4:3)</PresentationFormat>
  <Paragraphs>203</Paragraphs>
  <Slides>11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3" baseType="lpstr">
      <vt:lpstr>Тема Office</vt:lpstr>
      <vt:lpstr>think-cell Slide</vt:lpstr>
      <vt:lpstr>"Введение системы 5Св  методический кабинет"</vt:lpstr>
      <vt:lpstr> Команда проекта</vt:lpstr>
      <vt:lpstr>Слайд 3</vt:lpstr>
      <vt:lpstr>Карта текущего состояния процесса организации рабочего пространства в методическом кабинете</vt:lpstr>
      <vt:lpstr>Пирамида проблем</vt:lpstr>
      <vt:lpstr>Анализ проблем процесса   "Введение системы 5Св  методический кабинет"</vt:lpstr>
      <vt:lpstr>Карта текущего состояния процесса организации рабочего пространства в методическом кабинете</vt:lpstr>
      <vt:lpstr>Слайд 8</vt:lpstr>
      <vt:lpstr>Достигнутые результаты (было и стало) </vt:lpstr>
      <vt:lpstr>Достигнутые результаты (было и стало) </vt:lpstr>
      <vt:lpstr>Приглашаем  к сотрудничеству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User</cp:lastModifiedBy>
  <cp:revision>119</cp:revision>
  <cp:lastPrinted>2019-04-25T09:14:46Z</cp:lastPrinted>
  <dcterms:created xsi:type="dcterms:W3CDTF">2018-08-20T14:01:12Z</dcterms:created>
  <dcterms:modified xsi:type="dcterms:W3CDTF">2021-04-08T07:54:54Z</dcterms:modified>
</cp:coreProperties>
</file>